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3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48" r:id="rId5"/>
  </p:sldMasterIdLst>
  <p:sldIdLst>
    <p:sldId id="256" r:id="rId6"/>
    <p:sldId id="257" r:id="rId7"/>
    <p:sldId id="278" r:id="rId8"/>
    <p:sldId id="270" r:id="rId9"/>
    <p:sldId id="277" r:id="rId10"/>
    <p:sldId id="273" r:id="rId11"/>
    <p:sldId id="275" r:id="rId12"/>
    <p:sldId id="289" r:id="rId13"/>
    <p:sldId id="258" r:id="rId14"/>
    <p:sldId id="260" r:id="rId15"/>
    <p:sldId id="266" r:id="rId16"/>
    <p:sldId id="265" r:id="rId17"/>
    <p:sldId id="268" r:id="rId18"/>
    <p:sldId id="267" r:id="rId19"/>
    <p:sldId id="269" r:id="rId20"/>
    <p:sldId id="279" r:id="rId21"/>
    <p:sldId id="288" r:id="rId22"/>
    <p:sldId id="287" r:id="rId23"/>
    <p:sldId id="286" r:id="rId24"/>
    <p:sldId id="276" r:id="rId25"/>
    <p:sldId id="264" r:id="rId26"/>
    <p:sldId id="262" r:id="rId27"/>
    <p:sldId id="261" r:id="rId28"/>
    <p:sldId id="263" r:id="rId29"/>
    <p:sldId id="272" r:id="rId30"/>
    <p:sldId id="280" r:id="rId31"/>
    <p:sldId id="281" r:id="rId32"/>
    <p:sldId id="282" r:id="rId33"/>
    <p:sldId id="290" r:id="rId34"/>
    <p:sldId id="291" r:id="rId35"/>
    <p:sldId id="292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5442DB-9E0B-4C90-9DAD-F0EDFD5FCEC8}" v="1" dt="2024-10-31T01:46:57.677"/>
    <p1510:client id="{1DF18290-6262-028A-7989-30219305B717}" v="211" dt="2024-10-31T04:58:26.273"/>
    <p1510:client id="{24F4AC4D-86E6-2EFA-6CCB-2A061D3B29BA}" v="360" dt="2024-10-31T04:05:34.530"/>
    <p1510:client id="{2A1924AE-8712-4490-906C-09FE4DFA74EC}" v="69" dt="2024-10-30T22:05:26.614"/>
    <p1510:client id="{4E42895C-F106-41D9-9349-CACEA2A02337}" v="15" dt="2024-10-31T18:54:33.799"/>
    <p1510:client id="{5A29F77E-1E77-9C3E-759C-A5888F857257}" v="123" dt="2024-11-01T02:04:35.134"/>
    <p1510:client id="{86DBC7D6-CE50-40CF-9A5C-741EC7D01C9E}" v="798" dt="2024-10-31T00:47:17.083"/>
    <p1510:client id="{88ED8840-0834-4024-A044-F072B4670B2F}" v="3" dt="2024-10-30T16:25:37.907"/>
    <p1510:client id="{8DA3D1B4-E1EA-7F16-5F54-5B0C9B2E9EA8}" v="31" dt="2024-10-30T17:48:17.371"/>
    <p1510:client id="{95883F80-BBE4-4AA3-89C5-14AF9FFBB652}" v="2" dt="2024-10-30T18:34:00.741"/>
    <p1510:client id="{A19B5A1C-EB8E-40BF-A939-E4848395ACD4}" v="4" dt="2024-11-01T01:56:32.390"/>
    <p1510:client id="{B1D75B85-A201-2874-C523-E2DFF3C50035}" v="61" dt="2024-10-30T21:06:37.893"/>
    <p1510:client id="{C0937AB1-3E56-4B68-912B-67A0F0409FC8}" v="20" dt="2024-10-31T20:22:54.985"/>
    <p1510:client id="{C1B527B3-ABA9-FEA8-9BD9-6147B6490AF2}" v="2" dt="2024-10-30T17:49:45.413"/>
    <p1510:client id="{CB614405-4EAE-D3F5-D0D9-34F9D5C0F06F}" v="199" dt="2024-11-01T02:29:22.474"/>
    <p1510:client id="{CBF20C3C-3284-022D-771D-F8CC5FD5812F}" v="173" dt="2024-10-30T20:31:23.227"/>
    <p1510:client id="{F4BCAEEA-64E5-479D-AE81-503B1CF696E7}" v="3" dt="2024-10-31T20:18:11.977"/>
    <p1510:client id="{F5AD17EB-0BD4-EDDF-5D11-5F11540A2C3C}" v="7" dt="2024-10-30T17:51:13.926"/>
    <p1510:client id="{F9BF08A9-405A-4356-8BE1-D02221699D4D}" v="3" dt="2024-11-01T02:56:22.018"/>
    <p1510:client id="{FF89485A-B904-4359-9383-E8F615B45ED2}" v="13" dt="2024-10-31T01:41:06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gendiran, Jagadesh" userId="S::jan177@pitt.edu::1c4d53c9-6c32-4a6c-adaa-8f5db3853f39" providerId="AD" clId="Web-{C1B527B3-ABA9-FEA8-9BD9-6147B6490AF2}"/>
    <pc:docChg chg="modSld">
      <pc:chgData name="Nagendiran, Jagadesh" userId="S::jan177@pitt.edu::1c4d53c9-6c32-4a6c-adaa-8f5db3853f39" providerId="AD" clId="Web-{C1B527B3-ABA9-FEA8-9BD9-6147B6490AF2}" dt="2024-10-30T17:49:45.413" v="1" actId="20577"/>
      <pc:docMkLst>
        <pc:docMk/>
      </pc:docMkLst>
      <pc:sldChg chg="modSp">
        <pc:chgData name="Nagendiran, Jagadesh" userId="S::jan177@pitt.edu::1c4d53c9-6c32-4a6c-adaa-8f5db3853f39" providerId="AD" clId="Web-{C1B527B3-ABA9-FEA8-9BD9-6147B6490AF2}" dt="2024-10-30T17:49:45.413" v="1" actId="20577"/>
        <pc:sldMkLst>
          <pc:docMk/>
          <pc:sldMk cId="109857222" sldId="256"/>
        </pc:sldMkLst>
        <pc:spChg chg="mod">
          <ac:chgData name="Nagendiran, Jagadesh" userId="S::jan177@pitt.edu::1c4d53c9-6c32-4a6c-adaa-8f5db3853f39" providerId="AD" clId="Web-{C1B527B3-ABA9-FEA8-9BD9-6147B6490AF2}" dt="2024-10-30T17:49:45.413" v="1" actId="20577"/>
          <ac:spMkLst>
            <pc:docMk/>
            <pc:sldMk cId="109857222" sldId="256"/>
            <ac:spMk id="3" creationId="{00000000-0000-0000-0000-000000000000}"/>
          </ac:spMkLst>
        </pc:spChg>
      </pc:sldChg>
    </pc:docChg>
  </pc:docChgLst>
  <pc:docChgLst>
    <pc:chgData name="Somani, Priyam" userId="S::prs226@pitt.edu::fd9ca880-d0a6-4843-ba37-4bf7454632fe" providerId="AD" clId="Web-{CB614405-4EAE-D3F5-D0D9-34F9D5C0F06F}"/>
    <pc:docChg chg="addSld delSld modSld sldOrd addMainMaster">
      <pc:chgData name="Somani, Priyam" userId="S::prs226@pitt.edu::fd9ca880-d0a6-4843-ba37-4bf7454632fe" providerId="AD" clId="Web-{CB614405-4EAE-D3F5-D0D9-34F9D5C0F06F}" dt="2024-11-01T02:29:20.412" v="200" actId="20577"/>
      <pc:docMkLst>
        <pc:docMk/>
      </pc:docMkLst>
      <pc:sldChg chg="modSp add">
        <pc:chgData name="Somani, Priyam" userId="S::prs226@pitt.edu::fd9ca880-d0a6-4843-ba37-4bf7454632fe" providerId="AD" clId="Web-{CB614405-4EAE-D3F5-D0D9-34F9D5C0F06F}" dt="2024-11-01T02:12:39.453" v="170" actId="14100"/>
        <pc:sldMkLst>
          <pc:docMk/>
          <pc:sldMk cId="2410398321" sldId="258"/>
        </pc:sldMkLst>
        <pc:spChg chg="mod">
          <ac:chgData name="Somani, Priyam" userId="S::prs226@pitt.edu::fd9ca880-d0a6-4843-ba37-4bf7454632fe" providerId="AD" clId="Web-{CB614405-4EAE-D3F5-D0D9-34F9D5C0F06F}" dt="2024-11-01T02:12:39.453" v="170" actId="14100"/>
          <ac:spMkLst>
            <pc:docMk/>
            <pc:sldMk cId="2410398321" sldId="258"/>
            <ac:spMk id="2" creationId="{F6908175-BE37-DC09-5B27-ACE0A0D56950}"/>
          </ac:spMkLst>
        </pc:spChg>
      </pc:sldChg>
      <pc:sldChg chg="addSp delSp modSp">
        <pc:chgData name="Somani, Priyam" userId="S::prs226@pitt.edu::fd9ca880-d0a6-4843-ba37-4bf7454632fe" providerId="AD" clId="Web-{CB614405-4EAE-D3F5-D0D9-34F9D5C0F06F}" dt="2024-11-01T01:45:30.664" v="11" actId="1076"/>
        <pc:sldMkLst>
          <pc:docMk/>
          <pc:sldMk cId="3762385261" sldId="270"/>
        </pc:sldMkLst>
        <pc:picChg chg="del mod modCrop">
          <ac:chgData name="Somani, Priyam" userId="S::prs226@pitt.edu::fd9ca880-d0a6-4843-ba37-4bf7454632fe" providerId="AD" clId="Web-{CB614405-4EAE-D3F5-D0D9-34F9D5C0F06F}" dt="2024-11-01T01:45:16.413" v="5"/>
          <ac:picMkLst>
            <pc:docMk/>
            <pc:sldMk cId="3762385261" sldId="270"/>
            <ac:picMk id="4" creationId="{E5FBE37D-9ED4-D178-C337-3C8AC9CAD129}"/>
          </ac:picMkLst>
        </pc:picChg>
        <pc:picChg chg="add del mod">
          <ac:chgData name="Somani, Priyam" userId="S::prs226@pitt.edu::fd9ca880-d0a6-4843-ba37-4bf7454632fe" providerId="AD" clId="Web-{CB614405-4EAE-D3F5-D0D9-34F9D5C0F06F}" dt="2024-11-01T01:33:54.015" v="3"/>
          <ac:picMkLst>
            <pc:docMk/>
            <pc:sldMk cId="3762385261" sldId="270"/>
            <ac:picMk id="5" creationId="{D989207B-8242-AD96-D4C4-69815514380F}"/>
          </ac:picMkLst>
        </pc:picChg>
        <pc:picChg chg="add mod modCrop">
          <ac:chgData name="Somani, Priyam" userId="S::prs226@pitt.edu::fd9ca880-d0a6-4843-ba37-4bf7454632fe" providerId="AD" clId="Web-{CB614405-4EAE-D3F5-D0D9-34F9D5C0F06F}" dt="2024-11-01T01:45:30.664" v="11" actId="1076"/>
          <ac:picMkLst>
            <pc:docMk/>
            <pc:sldMk cId="3762385261" sldId="270"/>
            <ac:picMk id="6" creationId="{C497BABD-DD15-0005-38DA-3884FABD18E0}"/>
          </ac:picMkLst>
        </pc:picChg>
      </pc:sldChg>
      <pc:sldChg chg="addSp delSp modSp">
        <pc:chgData name="Somani, Priyam" userId="S::prs226@pitt.edu::fd9ca880-d0a6-4843-ba37-4bf7454632fe" providerId="AD" clId="Web-{CB614405-4EAE-D3F5-D0D9-34F9D5C0F06F}" dt="2024-11-01T02:14:01.080" v="198" actId="20577"/>
        <pc:sldMkLst>
          <pc:docMk/>
          <pc:sldMk cId="768560919" sldId="277"/>
        </pc:sldMkLst>
        <pc:spChg chg="mod">
          <ac:chgData name="Somani, Priyam" userId="S::prs226@pitt.edu::fd9ca880-d0a6-4843-ba37-4bf7454632fe" providerId="AD" clId="Web-{CB614405-4EAE-D3F5-D0D9-34F9D5C0F06F}" dt="2024-11-01T02:14:01.080" v="198" actId="20577"/>
          <ac:spMkLst>
            <pc:docMk/>
            <pc:sldMk cId="768560919" sldId="277"/>
            <ac:spMk id="2" creationId="{19A619C9-200D-A22F-4BC6-AC9F8C9002CF}"/>
          </ac:spMkLst>
        </pc:spChg>
        <pc:spChg chg="del mod">
          <ac:chgData name="Somani, Priyam" userId="S::prs226@pitt.edu::fd9ca880-d0a6-4843-ba37-4bf7454632fe" providerId="AD" clId="Web-{CB614405-4EAE-D3F5-D0D9-34F9D5C0F06F}" dt="2024-11-01T02:13:33.657" v="183"/>
          <ac:spMkLst>
            <pc:docMk/>
            <pc:sldMk cId="768560919" sldId="277"/>
            <ac:spMk id="4" creationId="{F6D4CF31-8A63-5C52-F9D4-CF977A403411}"/>
          </ac:spMkLst>
        </pc:spChg>
        <pc:spChg chg="add del mod">
          <ac:chgData name="Somani, Priyam" userId="S::prs226@pitt.edu::fd9ca880-d0a6-4843-ba37-4bf7454632fe" providerId="AD" clId="Web-{CB614405-4EAE-D3F5-D0D9-34F9D5C0F06F}" dt="2024-11-01T02:13:37.345" v="184"/>
          <ac:spMkLst>
            <pc:docMk/>
            <pc:sldMk cId="768560919" sldId="277"/>
            <ac:spMk id="6" creationId="{91D27C21-9339-6BCA-3E42-831CBE92EF1E}"/>
          </ac:spMkLst>
        </pc:spChg>
        <pc:picChg chg="mod">
          <ac:chgData name="Somani, Priyam" userId="S::prs226@pitt.edu::fd9ca880-d0a6-4843-ba37-4bf7454632fe" providerId="AD" clId="Web-{CB614405-4EAE-D3F5-D0D9-34F9D5C0F06F}" dt="2024-11-01T02:13:39.580" v="185" actId="1076"/>
          <ac:picMkLst>
            <pc:docMk/>
            <pc:sldMk cId="768560919" sldId="277"/>
            <ac:picMk id="5" creationId="{38A6459E-AD85-7930-CFBB-14FE8DDD0E42}"/>
          </ac:picMkLst>
        </pc:picChg>
      </pc:sldChg>
      <pc:sldChg chg="modSp add ord">
        <pc:chgData name="Somani, Priyam" userId="S::prs226@pitt.edu::fd9ca880-d0a6-4843-ba37-4bf7454632fe" providerId="AD" clId="Web-{CB614405-4EAE-D3F5-D0D9-34F9D5C0F06F}" dt="2024-11-01T02:29:20.412" v="200" actId="20577"/>
        <pc:sldMkLst>
          <pc:docMk/>
          <pc:sldMk cId="3321969961" sldId="289"/>
        </pc:sldMkLst>
        <pc:spChg chg="mod">
          <ac:chgData name="Somani, Priyam" userId="S::prs226@pitt.edu::fd9ca880-d0a6-4843-ba37-4bf7454632fe" providerId="AD" clId="Web-{CB614405-4EAE-D3F5-D0D9-34F9D5C0F06F}" dt="2024-11-01T02:29:20.412" v="200" actId="20577"/>
          <ac:spMkLst>
            <pc:docMk/>
            <pc:sldMk cId="3321969961" sldId="289"/>
            <ac:spMk id="2" creationId="{A26198E0-B8B9-504A-ADC8-538F1E5F8FD4}"/>
          </ac:spMkLst>
        </pc:spChg>
      </pc:sldChg>
      <pc:sldChg chg="modSp new del">
        <pc:chgData name="Somani, Priyam" userId="S::prs226@pitt.edu::fd9ca880-d0a6-4843-ba37-4bf7454632fe" providerId="AD" clId="Web-{CB614405-4EAE-D3F5-D0D9-34F9D5C0F06F}" dt="2024-11-01T01:55:52.943" v="55"/>
        <pc:sldMkLst>
          <pc:docMk/>
          <pc:sldMk cId="4292495372" sldId="292"/>
        </pc:sldMkLst>
        <pc:spChg chg="mod">
          <ac:chgData name="Somani, Priyam" userId="S::prs226@pitt.edu::fd9ca880-d0a6-4843-ba37-4bf7454632fe" providerId="AD" clId="Web-{CB614405-4EAE-D3F5-D0D9-34F9D5C0F06F}" dt="2024-11-01T01:53:49.345" v="43" actId="20577"/>
          <ac:spMkLst>
            <pc:docMk/>
            <pc:sldMk cId="4292495372" sldId="292"/>
            <ac:spMk id="2" creationId="{6A5AD233-F937-C866-CEF2-AD7B559CE150}"/>
          </ac:spMkLst>
        </pc:spChg>
        <pc:spChg chg="mod">
          <ac:chgData name="Somani, Priyam" userId="S::prs226@pitt.edu::fd9ca880-d0a6-4843-ba37-4bf7454632fe" providerId="AD" clId="Web-{CB614405-4EAE-D3F5-D0D9-34F9D5C0F06F}" dt="2024-11-01T01:54:54.395" v="53" actId="20577"/>
          <ac:spMkLst>
            <pc:docMk/>
            <pc:sldMk cId="4292495372" sldId="292"/>
            <ac:spMk id="3" creationId="{C87CB0EF-BC93-2DE4-0387-BB1F71F8D002}"/>
          </ac:spMkLst>
        </pc:spChg>
      </pc:sldChg>
      <pc:sldChg chg="addSp delSp add del">
        <pc:chgData name="Somani, Priyam" userId="S::prs226@pitt.edu::fd9ca880-d0a6-4843-ba37-4bf7454632fe" providerId="AD" clId="Web-{CB614405-4EAE-D3F5-D0D9-34F9D5C0F06F}" dt="2024-11-01T01:57:23.681" v="65"/>
        <pc:sldMkLst>
          <pc:docMk/>
          <pc:sldMk cId="3321969961" sldId="293"/>
        </pc:sldMkLst>
        <pc:spChg chg="add del">
          <ac:chgData name="Somani, Priyam" userId="S::prs226@pitt.edu::fd9ca880-d0a6-4843-ba37-4bf7454632fe" providerId="AD" clId="Web-{CB614405-4EAE-D3F5-D0D9-34F9D5C0F06F}" dt="2024-11-01T01:56:32.460" v="61"/>
          <ac:spMkLst>
            <pc:docMk/>
            <pc:sldMk cId="3321969961" sldId="293"/>
            <ac:spMk id="13" creationId="{2CA9B073-8C06-A8AE-7B6D-A455E06304DD}"/>
          </ac:spMkLst>
        </pc:spChg>
      </pc:sldChg>
      <pc:sldChg chg="new del ord">
        <pc:chgData name="Somani, Priyam" userId="S::prs226@pitt.edu::fd9ca880-d0a6-4843-ba37-4bf7454632fe" providerId="AD" clId="Web-{CB614405-4EAE-D3F5-D0D9-34F9D5C0F06F}" dt="2024-11-01T01:56:21.913" v="59"/>
        <pc:sldMkLst>
          <pc:docMk/>
          <pc:sldMk cId="627401563" sldId="294"/>
        </pc:sldMkLst>
      </pc:sldChg>
      <pc:sldChg chg="new del">
        <pc:chgData name="Somani, Priyam" userId="S::prs226@pitt.edu::fd9ca880-d0a6-4843-ba37-4bf7454632fe" providerId="AD" clId="Web-{CB614405-4EAE-D3F5-D0D9-34F9D5C0F06F}" dt="2024-11-01T01:57:12.837" v="64"/>
        <pc:sldMkLst>
          <pc:docMk/>
          <pc:sldMk cId="1158900330" sldId="294"/>
        </pc:sldMkLst>
      </pc:sldChg>
      <pc:sldMasterChg chg="add addSldLayout">
        <pc:chgData name="Somani, Priyam" userId="S::prs226@pitt.edu::fd9ca880-d0a6-4843-ba37-4bf7454632fe" providerId="AD" clId="Web-{CB614405-4EAE-D3F5-D0D9-34F9D5C0F06F}" dt="2024-11-01T01:57:09.712" v="63"/>
        <pc:sldMasterMkLst>
          <pc:docMk/>
          <pc:sldMasterMk cId="3020345884" sldId="2147483648"/>
        </pc:sldMasterMkLst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260683652" sldId="2147483649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1101699702" sldId="2147483650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891572846" sldId="2147483651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4120460477" sldId="2147483652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1891476683" sldId="2147483653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2375267104" sldId="2147483654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4114763053" sldId="2147483655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1889178648" sldId="2147483656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2728550972" sldId="2147483657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3036142280" sldId="2147483658"/>
          </pc:sldLayoutMkLst>
        </pc:sldLayoutChg>
        <pc:sldLayoutChg chg="add">
          <pc:chgData name="Somani, Priyam" userId="S::prs226@pitt.edu::fd9ca880-d0a6-4843-ba37-4bf7454632fe" providerId="AD" clId="Web-{CB614405-4EAE-D3F5-D0D9-34F9D5C0F06F}" dt="2024-11-01T01:57:09.712" v="63"/>
          <pc:sldLayoutMkLst>
            <pc:docMk/>
            <pc:sldMasterMk cId="3020345884" sldId="2147483648"/>
            <pc:sldLayoutMk cId="2915503403" sldId="2147483659"/>
          </pc:sldLayoutMkLst>
        </pc:sldLayoutChg>
      </pc:sldMasterChg>
    </pc:docChg>
  </pc:docChgLst>
  <pc:docChgLst>
    <pc:chgData name="Tyler, James Lee" userId="S::jlt104@pitt.edu::a4dafdf2-e930-4d1d-a35d-f2063ce59334" providerId="AD" clId="Web-{95883F80-BBE4-4AA3-89C5-14AF9FFBB652}"/>
    <pc:docChg chg="addSld modSld">
      <pc:chgData name="Tyler, James Lee" userId="S::jlt104@pitt.edu::a4dafdf2-e930-4d1d-a35d-f2063ce59334" providerId="AD" clId="Web-{95883F80-BBE4-4AA3-89C5-14AF9FFBB652}" dt="2024-10-30T18:34:00.741" v="1" actId="20577"/>
      <pc:docMkLst>
        <pc:docMk/>
      </pc:docMkLst>
      <pc:sldChg chg="modSp new">
        <pc:chgData name="Tyler, James Lee" userId="S::jlt104@pitt.edu::a4dafdf2-e930-4d1d-a35d-f2063ce59334" providerId="AD" clId="Web-{95883F80-BBE4-4AA3-89C5-14AF9FFBB652}" dt="2024-10-30T18:34:00.741" v="1" actId="20577"/>
        <pc:sldMkLst>
          <pc:docMk/>
          <pc:sldMk cId="3976716070" sldId="266"/>
        </pc:sldMkLst>
        <pc:spChg chg="mod">
          <ac:chgData name="Tyler, James Lee" userId="S::jlt104@pitt.edu::a4dafdf2-e930-4d1d-a35d-f2063ce59334" providerId="AD" clId="Web-{95883F80-BBE4-4AA3-89C5-14AF9FFBB652}" dt="2024-10-30T18:34:00.741" v="1" actId="20577"/>
          <ac:spMkLst>
            <pc:docMk/>
            <pc:sldMk cId="3976716070" sldId="266"/>
            <ac:spMk id="2" creationId="{B61CD047-6889-20DD-27E0-00EDB98577FB}"/>
          </ac:spMkLst>
        </pc:spChg>
      </pc:sldChg>
    </pc:docChg>
  </pc:docChgLst>
  <pc:docChgLst>
    <pc:chgData name="Somani, Priyam" userId="S::prs226@pitt.edu::fd9ca880-d0a6-4843-ba37-4bf7454632fe" providerId="AD" clId="Web-{1DF18290-6262-028A-7989-30219305B717}"/>
    <pc:docChg chg="addSld delSld modSld sldOrd">
      <pc:chgData name="Somani, Priyam" userId="S::prs226@pitt.edu::fd9ca880-d0a6-4843-ba37-4bf7454632fe" providerId="AD" clId="Web-{1DF18290-6262-028A-7989-30219305B717}" dt="2024-10-31T04:58:26.273" v="211" actId="1076"/>
      <pc:docMkLst>
        <pc:docMk/>
      </pc:docMkLst>
      <pc:sldChg chg="addSp delSp modSp">
        <pc:chgData name="Somani, Priyam" userId="S::prs226@pitt.edu::fd9ca880-d0a6-4843-ba37-4bf7454632fe" providerId="AD" clId="Web-{1DF18290-6262-028A-7989-30219305B717}" dt="2024-10-31T03:35:37.309" v="51"/>
        <pc:sldMkLst>
          <pc:docMk/>
          <pc:sldMk cId="3038649835" sldId="260"/>
        </pc:sldMkLst>
        <pc:picChg chg="add del mod">
          <ac:chgData name="Somani, Priyam" userId="S::prs226@pitt.edu::fd9ca880-d0a6-4843-ba37-4bf7454632fe" providerId="AD" clId="Web-{1DF18290-6262-028A-7989-30219305B717}" dt="2024-10-31T03:35:37.309" v="51"/>
          <ac:picMkLst>
            <pc:docMk/>
            <pc:sldMk cId="3038649835" sldId="260"/>
            <ac:picMk id="4" creationId="{B2313B07-466C-836A-D83D-709221CB8B80}"/>
          </ac:picMkLst>
        </pc:picChg>
      </pc:sldChg>
      <pc:sldChg chg="addSp delSp modSp">
        <pc:chgData name="Somani, Priyam" userId="S::prs226@pitt.edu::fd9ca880-d0a6-4843-ba37-4bf7454632fe" providerId="AD" clId="Web-{1DF18290-6262-028A-7989-30219305B717}" dt="2024-10-31T04:58:26.273" v="211" actId="1076"/>
        <pc:sldMkLst>
          <pc:docMk/>
          <pc:sldMk cId="3664168244" sldId="263"/>
        </pc:sldMkLst>
        <pc:spChg chg="mod">
          <ac:chgData name="Somani, Priyam" userId="S::prs226@pitt.edu::fd9ca880-d0a6-4843-ba37-4bf7454632fe" providerId="AD" clId="Web-{1DF18290-6262-028A-7989-30219305B717}" dt="2024-10-31T04:57:44.334" v="188" actId="20577"/>
          <ac:spMkLst>
            <pc:docMk/>
            <pc:sldMk cId="3664168244" sldId="263"/>
            <ac:spMk id="2" creationId="{C3E31A46-29C8-FCFD-5666-EC75CAD65D23}"/>
          </ac:spMkLst>
        </pc:spChg>
        <pc:spChg chg="del">
          <ac:chgData name="Somani, Priyam" userId="S::prs226@pitt.edu::fd9ca880-d0a6-4843-ba37-4bf7454632fe" providerId="AD" clId="Web-{1DF18290-6262-028A-7989-30219305B717}" dt="2024-10-31T04:57:36.162" v="183"/>
          <ac:spMkLst>
            <pc:docMk/>
            <pc:sldMk cId="3664168244" sldId="263"/>
            <ac:spMk id="3" creationId="{FE5AA5E8-FE90-A33E-1A67-7108D32F5D30}"/>
          </ac:spMkLst>
        </pc:spChg>
        <pc:spChg chg="add mod">
          <ac:chgData name="Somani, Priyam" userId="S::prs226@pitt.edu::fd9ca880-d0a6-4843-ba37-4bf7454632fe" providerId="AD" clId="Web-{1DF18290-6262-028A-7989-30219305B717}" dt="2024-10-31T04:58:25.507" v="210" actId="20577"/>
          <ac:spMkLst>
            <pc:docMk/>
            <pc:sldMk cId="3664168244" sldId="263"/>
            <ac:spMk id="5" creationId="{384083E8-54CC-C91B-AB7A-6A83A9188BFD}"/>
          </ac:spMkLst>
        </pc:spChg>
        <pc:picChg chg="add mod ord">
          <ac:chgData name="Somani, Priyam" userId="S::prs226@pitt.edu::fd9ca880-d0a6-4843-ba37-4bf7454632fe" providerId="AD" clId="Web-{1DF18290-6262-028A-7989-30219305B717}" dt="2024-10-31T04:58:26.273" v="211" actId="1076"/>
          <ac:picMkLst>
            <pc:docMk/>
            <pc:sldMk cId="3664168244" sldId="263"/>
            <ac:picMk id="4" creationId="{EE955230-E0CC-169B-9DCE-EEEC6DD03955}"/>
          </ac:picMkLst>
        </pc:picChg>
      </pc:sldChg>
      <pc:sldChg chg="addSp modSp mod ord setBg">
        <pc:chgData name="Somani, Priyam" userId="S::prs226@pitt.edu::fd9ca880-d0a6-4843-ba37-4bf7454632fe" providerId="AD" clId="Web-{1DF18290-6262-028A-7989-30219305B717}" dt="2024-10-31T03:36:20.342" v="61" actId="1076"/>
        <pc:sldMkLst>
          <pc:docMk/>
          <pc:sldMk cId="3762385261" sldId="270"/>
        </pc:sldMkLst>
        <pc:spChg chg="mod">
          <ac:chgData name="Somani, Priyam" userId="S::prs226@pitt.edu::fd9ca880-d0a6-4843-ba37-4bf7454632fe" providerId="AD" clId="Web-{1DF18290-6262-028A-7989-30219305B717}" dt="2024-10-31T03:36:11.904" v="58"/>
          <ac:spMkLst>
            <pc:docMk/>
            <pc:sldMk cId="3762385261" sldId="270"/>
            <ac:spMk id="2" creationId="{EB13F93A-30D5-12ED-4F32-3D3A09B0C857}"/>
          </ac:spMkLst>
        </pc:spChg>
        <pc:spChg chg="mod">
          <ac:chgData name="Somani, Priyam" userId="S::prs226@pitt.edu::fd9ca880-d0a6-4843-ba37-4bf7454632fe" providerId="AD" clId="Web-{1DF18290-6262-028A-7989-30219305B717}" dt="2024-10-31T03:36:11.904" v="58"/>
          <ac:spMkLst>
            <pc:docMk/>
            <pc:sldMk cId="3762385261" sldId="270"/>
            <ac:spMk id="3" creationId="{4A5A3A7D-D17A-DEA1-82D7-81BEACC4043D}"/>
          </ac:spMkLst>
        </pc:spChg>
        <pc:spChg chg="add">
          <ac:chgData name="Somani, Priyam" userId="S::prs226@pitt.edu::fd9ca880-d0a6-4843-ba37-4bf7454632fe" providerId="AD" clId="Web-{1DF18290-6262-028A-7989-30219305B717}" dt="2024-10-31T03:36:11.904" v="58"/>
          <ac:spMkLst>
            <pc:docMk/>
            <pc:sldMk cId="3762385261" sldId="270"/>
            <ac:spMk id="9" creationId="{743AA782-23D1-4521-8CAD-47662984AA08}"/>
          </ac:spMkLst>
        </pc:spChg>
        <pc:spChg chg="add">
          <ac:chgData name="Somani, Priyam" userId="S::prs226@pitt.edu::fd9ca880-d0a6-4843-ba37-4bf7454632fe" providerId="AD" clId="Web-{1DF18290-6262-028A-7989-30219305B717}" dt="2024-10-31T03:36:11.904" v="58"/>
          <ac:spMkLst>
            <pc:docMk/>
            <pc:sldMk cId="3762385261" sldId="270"/>
            <ac:spMk id="11" creationId="{71877DBC-BB60-40F0-AC93-2ACDBAAE60CE}"/>
          </ac:spMkLst>
        </pc:spChg>
        <pc:picChg chg="add mod">
          <ac:chgData name="Somani, Priyam" userId="S::prs226@pitt.edu::fd9ca880-d0a6-4843-ba37-4bf7454632fe" providerId="AD" clId="Web-{1DF18290-6262-028A-7989-30219305B717}" dt="2024-10-31T03:36:20.342" v="61" actId="1076"/>
          <ac:picMkLst>
            <pc:docMk/>
            <pc:sldMk cId="3762385261" sldId="270"/>
            <ac:picMk id="4" creationId="{E5FBE37D-9ED4-D178-C337-3C8AC9CAD129}"/>
          </ac:picMkLst>
        </pc:picChg>
      </pc:sldChg>
      <pc:sldChg chg="addSp delSp modSp new mod setBg">
        <pc:chgData name="Somani, Priyam" userId="S::prs226@pitt.edu::fd9ca880-d0a6-4843-ba37-4bf7454632fe" providerId="AD" clId="Web-{1DF18290-6262-028A-7989-30219305B717}" dt="2024-10-31T03:44:09.764" v="134" actId="20577"/>
        <pc:sldMkLst>
          <pc:docMk/>
          <pc:sldMk cId="80328691" sldId="273"/>
        </pc:sldMkLst>
        <pc:spChg chg="mod">
          <ac:chgData name="Somani, Priyam" userId="S::prs226@pitt.edu::fd9ca880-d0a6-4843-ba37-4bf7454632fe" providerId="AD" clId="Web-{1DF18290-6262-028A-7989-30219305B717}" dt="2024-10-31T03:43:51.983" v="131"/>
          <ac:spMkLst>
            <pc:docMk/>
            <pc:sldMk cId="80328691" sldId="273"/>
            <ac:spMk id="2" creationId="{DD7C5D9B-4008-3684-0D1D-950766224372}"/>
          </ac:spMkLst>
        </pc:spChg>
        <pc:spChg chg="add del mod">
          <ac:chgData name="Somani, Priyam" userId="S::prs226@pitt.edu::fd9ca880-d0a6-4843-ba37-4bf7454632fe" providerId="AD" clId="Web-{1DF18290-6262-028A-7989-30219305B717}" dt="2024-10-31T03:43:51.983" v="131"/>
          <ac:spMkLst>
            <pc:docMk/>
            <pc:sldMk cId="80328691" sldId="273"/>
            <ac:spMk id="3" creationId="{06E2950F-17E7-A49F-4D8A-01F35A5D5C19}"/>
          </ac:spMkLst>
        </pc:spChg>
        <pc:spChg chg="add">
          <ac:chgData name="Somani, Priyam" userId="S::prs226@pitt.edu::fd9ca880-d0a6-4843-ba37-4bf7454632fe" providerId="AD" clId="Web-{1DF18290-6262-028A-7989-30219305B717}" dt="2024-10-31T03:43:51.983" v="131"/>
          <ac:spMkLst>
            <pc:docMk/>
            <pc:sldMk cId="80328691" sldId="273"/>
            <ac:spMk id="8" creationId="{907EF6B7-1338-4443-8C46-6A318D952DFD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9" creationId="{BACC6370-2D7E-4714-9D71-7542949D7D5D}"/>
          </ac:spMkLst>
        </pc:spChg>
        <pc:spChg chg="add">
          <ac:chgData name="Somani, Priyam" userId="S::prs226@pitt.edu::fd9ca880-d0a6-4843-ba37-4bf7454632fe" providerId="AD" clId="Web-{1DF18290-6262-028A-7989-30219305B717}" dt="2024-10-31T03:43:51.983" v="131"/>
          <ac:spMkLst>
            <pc:docMk/>
            <pc:sldMk cId="80328691" sldId="273"/>
            <ac:spMk id="10" creationId="{DAAE4CDD-124C-4DCF-9584-B6033B545DD5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11" creationId="{256B2C21-A230-48C0-8DF1-C46611373C44}"/>
          </ac:spMkLst>
        </pc:spChg>
        <pc:spChg chg="add">
          <ac:chgData name="Somani, Priyam" userId="S::prs226@pitt.edu::fd9ca880-d0a6-4843-ba37-4bf7454632fe" providerId="AD" clId="Web-{1DF18290-6262-028A-7989-30219305B717}" dt="2024-10-31T03:43:51.983" v="131"/>
          <ac:spMkLst>
            <pc:docMk/>
            <pc:sldMk cId="80328691" sldId="273"/>
            <ac:spMk id="12" creationId="{081E4A58-353D-44AE-B2FC-2A74E2E400F7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13" creationId="{3847E18C-932D-4C95-AABA-FEC7C9499AD7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15" creationId="{3150CB11-0C61-439E-910F-5787759E72A0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17" creationId="{43F8A58B-5155-44CE-A5FF-7647B47D0A7A}"/>
          </ac:spMkLst>
        </pc:spChg>
        <pc:spChg chg="add del">
          <ac:chgData name="Somani, Priyam" userId="S::prs226@pitt.edu::fd9ca880-d0a6-4843-ba37-4bf7454632fe" providerId="AD" clId="Web-{1DF18290-6262-028A-7989-30219305B717}" dt="2024-10-31T03:43:51.983" v="130"/>
          <ac:spMkLst>
            <pc:docMk/>
            <pc:sldMk cId="80328691" sldId="273"/>
            <ac:spMk id="19" creationId="{443F2ACA-E6D6-4028-82DD-F03C262D5DE6}"/>
          </ac:spMkLst>
        </pc:spChg>
        <pc:spChg chg="add mod">
          <ac:chgData name="Somani, Priyam" userId="S::prs226@pitt.edu::fd9ca880-d0a6-4843-ba37-4bf7454632fe" providerId="AD" clId="Web-{1DF18290-6262-028A-7989-30219305B717}" dt="2024-10-31T03:44:09.764" v="134" actId="20577"/>
          <ac:spMkLst>
            <pc:docMk/>
            <pc:sldMk cId="80328691" sldId="273"/>
            <ac:spMk id="21" creationId="{06E2950F-17E7-A49F-4D8A-01F35A5D5C19}"/>
          </ac:spMkLst>
        </pc:spChg>
        <pc:graphicFrameChg chg="add del">
          <ac:chgData name="Somani, Priyam" userId="S::prs226@pitt.edu::fd9ca880-d0a6-4843-ba37-4bf7454632fe" providerId="AD" clId="Web-{1DF18290-6262-028A-7989-30219305B717}" dt="2024-10-31T03:43:42.637" v="128"/>
          <ac:graphicFrameMkLst>
            <pc:docMk/>
            <pc:sldMk cId="80328691" sldId="273"/>
            <ac:graphicFrameMk id="5" creationId="{9E867414-3F0F-69F8-0E5A-D4AC36F4B301}"/>
          </ac:graphicFrameMkLst>
        </pc:graphicFrameChg>
        <pc:graphicFrameChg chg="add del">
          <ac:chgData name="Somani, Priyam" userId="S::prs226@pitt.edu::fd9ca880-d0a6-4843-ba37-4bf7454632fe" providerId="AD" clId="Web-{1DF18290-6262-028A-7989-30219305B717}" dt="2024-10-31T03:43:51.983" v="130"/>
          <ac:graphicFrameMkLst>
            <pc:docMk/>
            <pc:sldMk cId="80328691" sldId="273"/>
            <ac:graphicFrameMk id="7" creationId="{97B95723-0F0E-EFA5-BA6E-50D92A8990E5}"/>
          </ac:graphicFrameMkLst>
        </pc:graphicFrameChg>
      </pc:sldChg>
      <pc:sldChg chg="new del">
        <pc:chgData name="Somani, Priyam" userId="S::prs226@pitt.edu::fd9ca880-d0a6-4843-ba37-4bf7454632fe" providerId="AD" clId="Web-{1DF18290-6262-028A-7989-30219305B717}" dt="2024-10-31T03:35:29.653" v="49"/>
        <pc:sldMkLst>
          <pc:docMk/>
          <pc:sldMk cId="2501141875" sldId="273"/>
        </pc:sldMkLst>
      </pc:sldChg>
      <pc:sldChg chg="addSp delSp modSp new mod setBg">
        <pc:chgData name="Somani, Priyam" userId="S::prs226@pitt.edu::fd9ca880-d0a6-4843-ba37-4bf7454632fe" providerId="AD" clId="Web-{1DF18290-6262-028A-7989-30219305B717}" dt="2024-10-31T03:40:25.990" v="121" actId="1076"/>
        <pc:sldMkLst>
          <pc:docMk/>
          <pc:sldMk cId="73136686" sldId="274"/>
        </pc:sldMkLst>
        <pc:spChg chg="mod ord">
          <ac:chgData name="Somani, Priyam" userId="S::prs226@pitt.edu::fd9ca880-d0a6-4843-ba37-4bf7454632fe" providerId="AD" clId="Web-{1DF18290-6262-028A-7989-30219305B717}" dt="2024-10-31T03:40:02.302" v="112"/>
          <ac:spMkLst>
            <pc:docMk/>
            <pc:sldMk cId="73136686" sldId="274"/>
            <ac:spMk id="2" creationId="{54521342-0A42-94EA-9091-DCB2CC01A861}"/>
          </ac:spMkLst>
        </pc:spChg>
        <pc:spChg chg="del">
          <ac:chgData name="Somani, Priyam" userId="S::prs226@pitt.edu::fd9ca880-d0a6-4843-ba37-4bf7454632fe" providerId="AD" clId="Web-{1DF18290-6262-028A-7989-30219305B717}" dt="2024-10-31T03:38:25.955" v="96"/>
          <ac:spMkLst>
            <pc:docMk/>
            <pc:sldMk cId="73136686" sldId="274"/>
            <ac:spMk id="3" creationId="{301FE0F1-2D4D-DB2D-4DE5-7DE95F2B569C}"/>
          </ac:spMkLst>
        </pc:spChg>
        <pc:spChg chg="add del">
          <ac:chgData name="Somani, Priyam" userId="S::prs226@pitt.edu::fd9ca880-d0a6-4843-ba37-4bf7454632fe" providerId="AD" clId="Web-{1DF18290-6262-028A-7989-30219305B717}" dt="2024-10-31T03:38:57.831" v="102"/>
          <ac:spMkLst>
            <pc:docMk/>
            <pc:sldMk cId="73136686" sldId="274"/>
            <ac:spMk id="8" creationId="{46CBD392-211E-99F3-1871-5DDA75F0C73C}"/>
          </ac:spMkLst>
        </pc:spChg>
        <pc:spChg chg="add del">
          <ac:chgData name="Somani, Priyam" userId="S::prs226@pitt.edu::fd9ca880-d0a6-4843-ba37-4bf7454632fe" providerId="AD" clId="Web-{1DF18290-6262-028A-7989-30219305B717}" dt="2024-10-31T03:39:45.458" v="109"/>
          <ac:spMkLst>
            <pc:docMk/>
            <pc:sldMk cId="73136686" sldId="274"/>
            <ac:spMk id="11" creationId="{9F79630B-0F0B-446E-A637-38FA8F61D10E}"/>
          </ac:spMkLst>
        </pc:spChg>
        <pc:spChg chg="add del">
          <ac:chgData name="Somani, Priyam" userId="S::prs226@pitt.edu::fd9ca880-d0a6-4843-ba37-4bf7454632fe" providerId="AD" clId="Web-{1DF18290-6262-028A-7989-30219305B717}" dt="2024-10-31T03:39:45.458" v="109"/>
          <ac:spMkLst>
            <pc:docMk/>
            <pc:sldMk cId="73136686" sldId="274"/>
            <ac:spMk id="13" creationId="{B3437C99-FC8E-4311-B48A-F0C4C329B154}"/>
          </ac:spMkLst>
        </pc:spChg>
        <pc:spChg chg="add del">
          <ac:chgData name="Somani, Priyam" userId="S::prs226@pitt.edu::fd9ca880-d0a6-4843-ba37-4bf7454632fe" providerId="AD" clId="Web-{1DF18290-6262-028A-7989-30219305B717}" dt="2024-10-31T03:39:45.458" v="108"/>
          <ac:spMkLst>
            <pc:docMk/>
            <pc:sldMk cId="73136686" sldId="274"/>
            <ac:spMk id="18" creationId="{7DA3C418-758E-4180-A5D0-8655D6804587}"/>
          </ac:spMkLst>
        </pc:spChg>
        <pc:spChg chg="add del">
          <ac:chgData name="Somani, Priyam" userId="S::prs226@pitt.edu::fd9ca880-d0a6-4843-ba37-4bf7454632fe" providerId="AD" clId="Web-{1DF18290-6262-028A-7989-30219305B717}" dt="2024-10-31T03:39:45.458" v="108"/>
          <ac:spMkLst>
            <pc:docMk/>
            <pc:sldMk cId="73136686" sldId="274"/>
            <ac:spMk id="20" creationId="{28C8EF06-5EC3-4883-AFAF-D74FF46550FB}"/>
          </ac:spMkLst>
        </pc:spChg>
        <pc:spChg chg="add del">
          <ac:chgData name="Somani, Priyam" userId="S::prs226@pitt.edu::fd9ca880-d0a6-4843-ba37-4bf7454632fe" providerId="AD" clId="Web-{1DF18290-6262-028A-7989-30219305B717}" dt="2024-10-31T03:40:02.302" v="113"/>
          <ac:spMkLst>
            <pc:docMk/>
            <pc:sldMk cId="73136686" sldId="274"/>
            <ac:spMk id="22" creationId="{D4771268-CB57-404A-9271-370EB28F6090}"/>
          </ac:spMkLst>
        </pc:spChg>
        <pc:spChg chg="add del">
          <ac:chgData name="Somani, Priyam" userId="S::prs226@pitt.edu::fd9ca880-d0a6-4843-ba37-4bf7454632fe" providerId="AD" clId="Web-{1DF18290-6262-028A-7989-30219305B717}" dt="2024-10-31T03:40:02.302" v="112"/>
          <ac:spMkLst>
            <pc:docMk/>
            <pc:sldMk cId="73136686" sldId="274"/>
            <ac:spMk id="27" creationId="{ECC07320-C2CA-4E29-8481-9D9E143C7788}"/>
          </ac:spMkLst>
        </pc:spChg>
        <pc:spChg chg="add del">
          <ac:chgData name="Somani, Priyam" userId="S::prs226@pitt.edu::fd9ca880-d0a6-4843-ba37-4bf7454632fe" providerId="AD" clId="Web-{1DF18290-6262-028A-7989-30219305B717}" dt="2024-10-31T03:40:02.302" v="112"/>
          <ac:spMkLst>
            <pc:docMk/>
            <pc:sldMk cId="73136686" sldId="274"/>
            <ac:spMk id="29" creationId="{178FB36B-5BFE-42CA-BC60-1115E0D95EEC}"/>
          </ac:spMkLst>
        </pc:spChg>
        <pc:spChg chg="add">
          <ac:chgData name="Somani, Priyam" userId="S::prs226@pitt.edu::fd9ca880-d0a6-4843-ba37-4bf7454632fe" providerId="AD" clId="Web-{1DF18290-6262-028A-7989-30219305B717}" dt="2024-10-31T03:40:02.302" v="113"/>
          <ac:spMkLst>
            <pc:docMk/>
            <pc:sldMk cId="73136686" sldId="274"/>
            <ac:spMk id="31" creationId="{D4771268-CB57-404A-9271-370EB28F6090}"/>
          </ac:spMkLst>
        </pc:spChg>
        <pc:picChg chg="add del mod ord modCrop">
          <ac:chgData name="Somani, Priyam" userId="S::prs226@pitt.edu::fd9ca880-d0a6-4843-ba37-4bf7454632fe" providerId="AD" clId="Web-{1DF18290-6262-028A-7989-30219305B717}" dt="2024-10-31T03:40:03.849" v="114"/>
          <ac:picMkLst>
            <pc:docMk/>
            <pc:sldMk cId="73136686" sldId="274"/>
            <ac:picMk id="4" creationId="{33988AEA-BF21-8658-88EB-7FA8CEC8CD06}"/>
          </ac:picMkLst>
        </pc:picChg>
        <pc:picChg chg="add mod">
          <ac:chgData name="Somani, Priyam" userId="S::prs226@pitt.edu::fd9ca880-d0a6-4843-ba37-4bf7454632fe" providerId="AD" clId="Web-{1DF18290-6262-028A-7989-30219305B717}" dt="2024-10-31T03:40:25.990" v="121" actId="1076"/>
          <ac:picMkLst>
            <pc:docMk/>
            <pc:sldMk cId="73136686" sldId="274"/>
            <ac:picMk id="5" creationId="{C08669EA-2C1B-1DBE-F600-F73194913F36}"/>
          </ac:picMkLst>
        </pc:picChg>
      </pc:sldChg>
      <pc:sldChg chg="addSp modSp new mod setBg">
        <pc:chgData name="Somani, Priyam" userId="S::prs226@pitt.edu::fd9ca880-d0a6-4843-ba37-4bf7454632fe" providerId="AD" clId="Web-{1DF18290-6262-028A-7989-30219305B717}" dt="2024-10-31T03:49:13.290" v="154" actId="20577"/>
        <pc:sldMkLst>
          <pc:docMk/>
          <pc:sldMk cId="1848441403" sldId="275"/>
        </pc:sldMkLst>
        <pc:spChg chg="mod">
          <ac:chgData name="Somani, Priyam" userId="S::prs226@pitt.edu::fd9ca880-d0a6-4843-ba37-4bf7454632fe" providerId="AD" clId="Web-{1DF18290-6262-028A-7989-30219305B717}" dt="2024-10-31T03:49:05.805" v="152"/>
          <ac:spMkLst>
            <pc:docMk/>
            <pc:sldMk cId="1848441403" sldId="275"/>
            <ac:spMk id="2" creationId="{868731DF-FA31-6BBE-269A-73FB555E0D62}"/>
          </ac:spMkLst>
        </pc:spChg>
        <pc:spChg chg="mod">
          <ac:chgData name="Somani, Priyam" userId="S::prs226@pitt.edu::fd9ca880-d0a6-4843-ba37-4bf7454632fe" providerId="AD" clId="Web-{1DF18290-6262-028A-7989-30219305B717}" dt="2024-10-31T03:49:13.290" v="154" actId="20577"/>
          <ac:spMkLst>
            <pc:docMk/>
            <pc:sldMk cId="1848441403" sldId="275"/>
            <ac:spMk id="3" creationId="{8E1BC4B9-6933-125E-0696-FBEE6E057F38}"/>
          </ac:spMkLst>
        </pc:spChg>
        <pc:spChg chg="add">
          <ac:chgData name="Somani, Priyam" userId="S::prs226@pitt.edu::fd9ca880-d0a6-4843-ba37-4bf7454632fe" providerId="AD" clId="Web-{1DF18290-6262-028A-7989-30219305B717}" dt="2024-10-31T03:49:05.805" v="152"/>
          <ac:spMkLst>
            <pc:docMk/>
            <pc:sldMk cId="1848441403" sldId="275"/>
            <ac:spMk id="9" creationId="{45D37F4E-DDB4-456B-97E0-9937730A039F}"/>
          </ac:spMkLst>
        </pc:spChg>
        <pc:spChg chg="add">
          <ac:chgData name="Somani, Priyam" userId="S::prs226@pitt.edu::fd9ca880-d0a6-4843-ba37-4bf7454632fe" providerId="AD" clId="Web-{1DF18290-6262-028A-7989-30219305B717}" dt="2024-10-31T03:49:05.805" v="152"/>
          <ac:spMkLst>
            <pc:docMk/>
            <pc:sldMk cId="1848441403" sldId="275"/>
            <ac:spMk id="11" creationId="{B2DD41CD-8F47-4F56-AD12-4E2FF7696987}"/>
          </ac:spMkLst>
        </pc:spChg>
        <pc:picChg chg="add mod">
          <ac:chgData name="Somani, Priyam" userId="S::prs226@pitt.edu::fd9ca880-d0a6-4843-ba37-4bf7454632fe" providerId="AD" clId="Web-{1DF18290-6262-028A-7989-30219305B717}" dt="2024-10-31T03:49:05.805" v="152"/>
          <ac:picMkLst>
            <pc:docMk/>
            <pc:sldMk cId="1848441403" sldId="275"/>
            <ac:picMk id="4" creationId="{D6C2FF46-9909-74D9-91B6-AD87C2738017}"/>
          </ac:picMkLst>
        </pc:picChg>
      </pc:sldChg>
      <pc:sldChg chg="addSp delSp modSp new mod setBg">
        <pc:chgData name="Somani, Priyam" userId="S::prs226@pitt.edu::fd9ca880-d0a6-4843-ba37-4bf7454632fe" providerId="AD" clId="Web-{1DF18290-6262-028A-7989-30219305B717}" dt="2024-10-31T04:56:40.316" v="182" actId="1076"/>
        <pc:sldMkLst>
          <pc:docMk/>
          <pc:sldMk cId="768560919" sldId="277"/>
        </pc:sldMkLst>
        <pc:spChg chg="mod">
          <ac:chgData name="Somani, Priyam" userId="S::prs226@pitt.edu::fd9ca880-d0a6-4843-ba37-4bf7454632fe" providerId="AD" clId="Web-{1DF18290-6262-028A-7989-30219305B717}" dt="2024-10-31T04:56:17.581" v="175"/>
          <ac:spMkLst>
            <pc:docMk/>
            <pc:sldMk cId="768560919" sldId="277"/>
            <ac:spMk id="2" creationId="{19A619C9-200D-A22F-4BC6-AC9F8C9002CF}"/>
          </ac:spMkLst>
        </pc:spChg>
        <pc:spChg chg="del">
          <ac:chgData name="Somani, Priyam" userId="S::prs226@pitt.edu::fd9ca880-d0a6-4843-ba37-4bf7454632fe" providerId="AD" clId="Web-{1DF18290-6262-028A-7989-30219305B717}" dt="2024-10-31T04:38:41.160" v="158"/>
          <ac:spMkLst>
            <pc:docMk/>
            <pc:sldMk cId="768560919" sldId="277"/>
            <ac:spMk id="3" creationId="{8DE24187-43D7-147D-155A-ADD006BF7027}"/>
          </ac:spMkLst>
        </pc:spChg>
        <pc:spChg chg="add del mod">
          <ac:chgData name="Somani, Priyam" userId="S::prs226@pitt.edu::fd9ca880-d0a6-4843-ba37-4bf7454632fe" providerId="AD" clId="Web-{1DF18290-6262-028A-7989-30219305B717}" dt="2024-10-31T04:43:14.387" v="163"/>
          <ac:spMkLst>
            <pc:docMk/>
            <pc:sldMk cId="768560919" sldId="277"/>
            <ac:spMk id="7" creationId="{4743213D-DDB6-5340-3D71-9AEE506086CB}"/>
          </ac:spMkLst>
        </pc:spChg>
        <pc:spChg chg="add del mod">
          <ac:chgData name="Somani, Priyam" userId="S::prs226@pitt.edu::fd9ca880-d0a6-4843-ba37-4bf7454632fe" providerId="AD" clId="Web-{1DF18290-6262-028A-7989-30219305B717}" dt="2024-10-31T04:43:35.076" v="167"/>
          <ac:spMkLst>
            <pc:docMk/>
            <pc:sldMk cId="768560919" sldId="277"/>
            <ac:spMk id="10" creationId="{3424E667-DAF8-68CC-2176-5732758BAF78}"/>
          </ac:spMkLst>
        </pc:spChg>
        <pc:spChg chg="add del mod">
          <ac:chgData name="Somani, Priyam" userId="S::prs226@pitt.edu::fd9ca880-d0a6-4843-ba37-4bf7454632fe" providerId="AD" clId="Web-{1DF18290-6262-028A-7989-30219305B717}" dt="2024-10-31T04:55:44.471" v="170"/>
          <ac:spMkLst>
            <pc:docMk/>
            <pc:sldMk cId="768560919" sldId="277"/>
            <ac:spMk id="13" creationId="{CBEBD013-ED07-B301-1F28-4EBFBC11CC67}"/>
          </ac:spMkLst>
        </pc:spChg>
        <pc:spChg chg="add">
          <ac:chgData name="Somani, Priyam" userId="S::prs226@pitt.edu::fd9ca880-d0a6-4843-ba37-4bf7454632fe" providerId="AD" clId="Web-{1DF18290-6262-028A-7989-30219305B717}" dt="2024-10-31T04:56:17.581" v="175"/>
          <ac:spMkLst>
            <pc:docMk/>
            <pc:sldMk cId="768560919" sldId="277"/>
            <ac:spMk id="19" creationId="{C4879EFC-8E62-4E00-973C-C45EE9EC676D}"/>
          </ac:spMkLst>
        </pc:spChg>
        <pc:spChg chg="add">
          <ac:chgData name="Somani, Priyam" userId="S::prs226@pitt.edu::fd9ca880-d0a6-4843-ba37-4bf7454632fe" providerId="AD" clId="Web-{1DF18290-6262-028A-7989-30219305B717}" dt="2024-10-31T04:56:17.581" v="175"/>
          <ac:spMkLst>
            <pc:docMk/>
            <pc:sldMk cId="768560919" sldId="277"/>
            <ac:spMk id="21" creationId="{D6A9C53F-5F90-40A5-8C85-5412D39C8C68}"/>
          </ac:spMkLst>
        </pc:spChg>
        <pc:picChg chg="add del mod ord">
          <ac:chgData name="Somani, Priyam" userId="S::prs226@pitt.edu::fd9ca880-d0a6-4843-ba37-4bf7454632fe" providerId="AD" clId="Web-{1DF18290-6262-028A-7989-30219305B717}" dt="2024-10-31T04:43:08.465" v="162"/>
          <ac:picMkLst>
            <pc:docMk/>
            <pc:sldMk cId="768560919" sldId="277"/>
            <ac:picMk id="4" creationId="{D9BB6190-D828-338A-2B4C-0B56D3D0AC02}"/>
          </ac:picMkLst>
        </pc:picChg>
        <pc:picChg chg="add mod">
          <ac:chgData name="Somani, Priyam" userId="S::prs226@pitt.edu::fd9ca880-d0a6-4843-ba37-4bf7454632fe" providerId="AD" clId="Web-{1DF18290-6262-028A-7989-30219305B717}" dt="2024-10-31T04:56:40.316" v="182" actId="1076"/>
          <ac:picMkLst>
            <pc:docMk/>
            <pc:sldMk cId="768560919" sldId="277"/>
            <ac:picMk id="5" creationId="{38A6459E-AD85-7930-CFBB-14FE8DDD0E42}"/>
          </ac:picMkLst>
        </pc:picChg>
        <pc:picChg chg="add del mod ord">
          <ac:chgData name="Somani, Priyam" userId="S::prs226@pitt.edu::fd9ca880-d0a6-4843-ba37-4bf7454632fe" providerId="AD" clId="Web-{1DF18290-6262-028A-7989-30219305B717}" dt="2024-10-31T04:43:29.575" v="166"/>
          <ac:picMkLst>
            <pc:docMk/>
            <pc:sldMk cId="768560919" sldId="277"/>
            <ac:picMk id="8" creationId="{C2E8BD70-8775-089A-8722-165E7DAC7FA9}"/>
          </ac:picMkLst>
        </pc:picChg>
        <pc:picChg chg="add del mod ord">
          <ac:chgData name="Somani, Priyam" userId="S::prs226@pitt.edu::fd9ca880-d0a6-4843-ba37-4bf7454632fe" providerId="AD" clId="Web-{1DF18290-6262-028A-7989-30219305B717}" dt="2024-10-31T04:43:48.811" v="169"/>
          <ac:picMkLst>
            <pc:docMk/>
            <pc:sldMk cId="768560919" sldId="277"/>
            <ac:picMk id="11" creationId="{59A62B45-C84E-36E1-E7E8-29705116F38A}"/>
          </ac:picMkLst>
        </pc:picChg>
        <pc:picChg chg="add mod ord modCrop">
          <ac:chgData name="Somani, Priyam" userId="S::prs226@pitt.edu::fd9ca880-d0a6-4843-ba37-4bf7454632fe" providerId="AD" clId="Web-{1DF18290-6262-028A-7989-30219305B717}" dt="2024-10-31T04:56:32.707" v="181" actId="14100"/>
          <ac:picMkLst>
            <pc:docMk/>
            <pc:sldMk cId="768560919" sldId="277"/>
            <ac:picMk id="14" creationId="{F546DE1E-D4FF-2E42-D05E-1BE4EF94524F}"/>
          </ac:picMkLst>
        </pc:picChg>
      </pc:sldChg>
      <pc:sldChg chg="new del">
        <pc:chgData name="Somani, Priyam" userId="S::prs226@pitt.edu::fd9ca880-d0a6-4843-ba37-4bf7454632fe" providerId="AD" clId="Web-{1DF18290-6262-028A-7989-30219305B717}" dt="2024-10-31T04:38:28.863" v="157"/>
        <pc:sldMkLst>
          <pc:docMk/>
          <pc:sldMk cId="1404836110" sldId="278"/>
        </pc:sldMkLst>
      </pc:sldChg>
    </pc:docChg>
  </pc:docChgLst>
  <pc:docChgLst>
    <pc:chgData name="Duara, Namrata" userId="S::nad168@pitt.edu::a1a8e532-d2e5-437d-9376-1ee7bba284b8" providerId="AD" clId="Web-{CBF20C3C-3284-022D-771D-F8CC5FD5812F}"/>
    <pc:docChg chg="modSld">
      <pc:chgData name="Duara, Namrata" userId="S::nad168@pitt.edu::a1a8e532-d2e5-437d-9376-1ee7bba284b8" providerId="AD" clId="Web-{CBF20C3C-3284-022D-771D-F8CC5FD5812F}" dt="2024-10-30T20:31:23.227" v="155" actId="20577"/>
      <pc:docMkLst>
        <pc:docMk/>
      </pc:docMkLst>
      <pc:sldChg chg="modSp">
        <pc:chgData name="Duara, Namrata" userId="S::nad168@pitt.edu::a1a8e532-d2e5-437d-9376-1ee7bba284b8" providerId="AD" clId="Web-{CBF20C3C-3284-022D-771D-F8CC5FD5812F}" dt="2024-10-30T20:31:23.227" v="155" actId="20577"/>
        <pc:sldMkLst>
          <pc:docMk/>
          <pc:sldMk cId="3038649835" sldId="260"/>
        </pc:sldMkLst>
        <pc:spChg chg="mod">
          <ac:chgData name="Duara, Namrata" userId="S::nad168@pitt.edu::a1a8e532-d2e5-437d-9376-1ee7bba284b8" providerId="AD" clId="Web-{CBF20C3C-3284-022D-771D-F8CC5FD5812F}" dt="2024-10-30T20:31:23.227" v="155" actId="20577"/>
          <ac:spMkLst>
            <pc:docMk/>
            <pc:sldMk cId="3038649835" sldId="260"/>
            <ac:spMk id="3" creationId="{45135590-5211-D612-7C6D-AAA92EBAFA82}"/>
          </ac:spMkLst>
        </pc:spChg>
      </pc:sldChg>
      <pc:sldChg chg="modSp">
        <pc:chgData name="Duara, Namrata" userId="S::nad168@pitt.edu::a1a8e532-d2e5-437d-9376-1ee7bba284b8" providerId="AD" clId="Web-{CBF20C3C-3284-022D-771D-F8CC5FD5812F}" dt="2024-10-30T20:21:20.873" v="29"/>
        <pc:sldMkLst>
          <pc:docMk/>
          <pc:sldMk cId="4140996671" sldId="262"/>
        </pc:sldMkLst>
        <pc:graphicFrameChg chg="mod modGraphic">
          <ac:chgData name="Duara, Namrata" userId="S::nad168@pitt.edu::a1a8e532-d2e5-437d-9376-1ee7bba284b8" providerId="AD" clId="Web-{CBF20C3C-3284-022D-771D-F8CC5FD5812F}" dt="2024-10-30T20:21:20.873" v="29"/>
          <ac:graphicFrameMkLst>
            <pc:docMk/>
            <pc:sldMk cId="4140996671" sldId="262"/>
            <ac:graphicFrameMk id="5" creationId="{A85EA260-69CF-2170-A8ED-589C53005F43}"/>
          </ac:graphicFrameMkLst>
        </pc:graphicFrameChg>
      </pc:sldChg>
    </pc:docChg>
  </pc:docChgLst>
  <pc:docChgLst>
    <pc:chgData name="Nagendiran, Jagadesh" userId="S::jan177@pitt.edu::1c4d53c9-6c32-4a6c-adaa-8f5db3853f39" providerId="AD" clId="Web-{F5AD17EB-0BD4-EDDF-5D11-5F11540A2C3C}"/>
    <pc:docChg chg="modSld">
      <pc:chgData name="Nagendiran, Jagadesh" userId="S::jan177@pitt.edu::1c4d53c9-6c32-4a6c-adaa-8f5db3853f39" providerId="AD" clId="Web-{F5AD17EB-0BD4-EDDF-5D11-5F11540A2C3C}" dt="2024-10-30T17:51:11.426" v="5" actId="20577"/>
      <pc:docMkLst>
        <pc:docMk/>
      </pc:docMkLst>
      <pc:sldChg chg="modSp">
        <pc:chgData name="Nagendiran, Jagadesh" userId="S::jan177@pitt.edu::1c4d53c9-6c32-4a6c-adaa-8f5db3853f39" providerId="AD" clId="Web-{F5AD17EB-0BD4-EDDF-5D11-5F11540A2C3C}" dt="2024-10-30T17:51:11.426" v="5" actId="20577"/>
        <pc:sldMkLst>
          <pc:docMk/>
          <pc:sldMk cId="109857222" sldId="256"/>
        </pc:sldMkLst>
        <pc:spChg chg="mod">
          <ac:chgData name="Nagendiran, Jagadesh" userId="S::jan177@pitt.edu::1c4d53c9-6c32-4a6c-adaa-8f5db3853f39" providerId="AD" clId="Web-{F5AD17EB-0BD4-EDDF-5D11-5F11540A2C3C}" dt="2024-10-30T17:51:11.426" v="5" actId="20577"/>
          <ac:spMkLst>
            <pc:docMk/>
            <pc:sldMk cId="109857222" sldId="256"/>
            <ac:spMk id="3" creationId="{00000000-0000-0000-0000-000000000000}"/>
          </ac:spMkLst>
        </pc:spChg>
      </pc:sldChg>
    </pc:docChg>
  </pc:docChgLst>
  <pc:docChgLst>
    <pc:chgData name="Tyler, James Lee" userId="S::jlt104@pitt.edu::a4dafdf2-e930-4d1d-a35d-f2063ce59334" providerId="AD" clId="Web-{A19B5A1C-EB8E-40BF-A939-E4848395ACD4}"/>
    <pc:docChg chg="delSld modSld">
      <pc:chgData name="Tyler, James Lee" userId="S::jlt104@pitt.edu::a4dafdf2-e930-4d1d-a35d-f2063ce59334" providerId="AD" clId="Web-{A19B5A1C-EB8E-40BF-A939-E4848395ACD4}" dt="2024-11-01T01:56:32.390" v="3"/>
      <pc:docMkLst>
        <pc:docMk/>
      </pc:docMkLst>
      <pc:sldChg chg="addSp delSp modSp">
        <pc:chgData name="Tyler, James Lee" userId="S::jlt104@pitt.edu::a4dafdf2-e930-4d1d-a35d-f2063ce59334" providerId="AD" clId="Web-{A19B5A1C-EB8E-40BF-A939-E4848395ACD4}" dt="2024-11-01T01:36:21.359" v="0"/>
        <pc:sldMkLst>
          <pc:docMk/>
          <pc:sldMk cId="768560919" sldId="277"/>
        </pc:sldMkLst>
        <pc:spChg chg="add mod">
          <ac:chgData name="Tyler, James Lee" userId="S::jlt104@pitt.edu::a4dafdf2-e930-4d1d-a35d-f2063ce59334" providerId="AD" clId="Web-{A19B5A1C-EB8E-40BF-A939-E4848395ACD4}" dt="2024-11-01T01:36:21.359" v="0"/>
          <ac:spMkLst>
            <pc:docMk/>
            <pc:sldMk cId="768560919" sldId="277"/>
            <ac:spMk id="4" creationId="{F6D4CF31-8A63-5C52-F9D4-CF977A403411}"/>
          </ac:spMkLst>
        </pc:spChg>
        <pc:picChg chg="del">
          <ac:chgData name="Tyler, James Lee" userId="S::jlt104@pitt.edu::a4dafdf2-e930-4d1d-a35d-f2063ce59334" providerId="AD" clId="Web-{A19B5A1C-EB8E-40BF-A939-E4848395ACD4}" dt="2024-11-01T01:36:21.359" v="0"/>
          <ac:picMkLst>
            <pc:docMk/>
            <pc:sldMk cId="768560919" sldId="277"/>
            <ac:picMk id="14" creationId="{F546DE1E-D4FF-2E42-D05E-1BE4EF94524F}"/>
          </ac:picMkLst>
        </pc:picChg>
      </pc:sldChg>
      <pc:sldChg chg="del">
        <pc:chgData name="Tyler, James Lee" userId="S::jlt104@pitt.edu::a4dafdf2-e930-4d1d-a35d-f2063ce59334" providerId="AD" clId="Web-{A19B5A1C-EB8E-40BF-A939-E4848395ACD4}" dt="2024-11-01T01:56:28.030" v="2"/>
        <pc:sldMkLst>
          <pc:docMk/>
          <pc:sldMk cId="3253341633" sldId="289"/>
        </pc:sldMkLst>
      </pc:sldChg>
      <pc:sldChg chg="del">
        <pc:chgData name="Tyler, James Lee" userId="S::jlt104@pitt.edu::a4dafdf2-e930-4d1d-a35d-f2063ce59334" providerId="AD" clId="Web-{A19B5A1C-EB8E-40BF-A939-E4848395ACD4}" dt="2024-11-01T01:56:21.952" v="1"/>
        <pc:sldMkLst>
          <pc:docMk/>
          <pc:sldMk cId="2787047106" sldId="290"/>
        </pc:sldMkLst>
      </pc:sldChg>
      <pc:sldChg chg="del">
        <pc:chgData name="Tyler, James Lee" userId="S::jlt104@pitt.edu::a4dafdf2-e930-4d1d-a35d-f2063ce59334" providerId="AD" clId="Web-{A19B5A1C-EB8E-40BF-A939-E4848395ACD4}" dt="2024-11-01T01:56:32.390" v="3"/>
        <pc:sldMkLst>
          <pc:docMk/>
          <pc:sldMk cId="3845273310" sldId="291"/>
        </pc:sldMkLst>
      </pc:sldChg>
    </pc:docChg>
  </pc:docChgLst>
  <pc:docChgLst>
    <pc:chgData name="Tyler, James Lee" userId="S::jlt104@pitt.edu::a4dafdf2-e930-4d1d-a35d-f2063ce59334" providerId="AD" clId="Web-{FB996FCB-5CE9-4F81-943F-90407FD8455F}"/>
    <pc:docChg chg="modSld">
      <pc:chgData name="Tyler, James Lee" userId="S::jlt104@pitt.edu::a4dafdf2-e930-4d1d-a35d-f2063ce59334" providerId="AD" clId="Web-{FB996FCB-5CE9-4F81-943F-90407FD8455F}" dt="2024-10-29T13:44:48.463" v="62"/>
      <pc:docMkLst>
        <pc:docMk/>
      </pc:docMkLst>
      <pc:sldChg chg="addSp delSp modSp">
        <pc:chgData name="Tyler, James Lee" userId="S::jlt104@pitt.edu::a4dafdf2-e930-4d1d-a35d-f2063ce59334" providerId="AD" clId="Web-{FB996FCB-5CE9-4F81-943F-90407FD8455F}" dt="2024-10-29T13:44:48.463" v="62"/>
        <pc:sldMkLst>
          <pc:docMk/>
          <pc:sldMk cId="109857222" sldId="256"/>
        </pc:sldMkLst>
        <pc:spChg chg="mod">
          <ac:chgData name="Tyler, James Lee" userId="S::jlt104@pitt.edu::a4dafdf2-e930-4d1d-a35d-f2063ce59334" providerId="AD" clId="Web-{FB996FCB-5CE9-4F81-943F-90407FD8455F}" dt="2024-10-29T13:40:17.262" v="20" actId="20577"/>
          <ac:spMkLst>
            <pc:docMk/>
            <pc:sldMk cId="109857222" sldId="256"/>
            <ac:spMk id="2" creationId="{00000000-0000-0000-0000-000000000000}"/>
          </ac:spMkLst>
        </pc:spChg>
        <pc:spChg chg="mod">
          <ac:chgData name="Tyler, James Lee" userId="S::jlt104@pitt.edu::a4dafdf2-e930-4d1d-a35d-f2063ce59334" providerId="AD" clId="Web-{FB996FCB-5CE9-4F81-943F-90407FD8455F}" dt="2024-10-29T13:41:57.496" v="46" actId="20577"/>
          <ac:spMkLst>
            <pc:docMk/>
            <pc:sldMk cId="109857222" sldId="256"/>
            <ac:spMk id="3" creationId="{00000000-0000-0000-0000-000000000000}"/>
          </ac:spMkLst>
        </pc:spChg>
      </pc:sldChg>
    </pc:docChg>
  </pc:docChgLst>
  <pc:docChgLst>
    <pc:chgData name="Tyler, James Lee" userId="S::jlt104@pitt.edu::a4dafdf2-e930-4d1d-a35d-f2063ce59334" providerId="AD" clId="Web-{F4BCAEEA-64E5-479D-AE81-503B1CF696E7}"/>
    <pc:docChg chg="addSld modSld">
      <pc:chgData name="Tyler, James Lee" userId="S::jlt104@pitt.edu::a4dafdf2-e930-4d1d-a35d-f2063ce59334" providerId="AD" clId="Web-{F4BCAEEA-64E5-479D-AE81-503B1CF696E7}" dt="2024-10-31T20:18:11.977" v="6" actId="20577"/>
      <pc:docMkLst>
        <pc:docMk/>
      </pc:docMkLst>
      <pc:sldChg chg="addSp delSp modSp mod setBg setClrOvrMap">
        <pc:chgData name="Tyler, James Lee" userId="S::jlt104@pitt.edu::a4dafdf2-e930-4d1d-a35d-f2063ce59334" providerId="AD" clId="Web-{F4BCAEEA-64E5-479D-AE81-503B1CF696E7}" dt="2024-10-31T20:15:04.683" v="2"/>
        <pc:sldMkLst>
          <pc:docMk/>
          <pc:sldMk cId="375927916" sldId="257"/>
        </pc:sldMkLst>
        <pc:spChg chg="mod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2" creationId="{BBD3A902-72BE-09AA-EAA6-13D88E10BE2A}"/>
          </ac:spMkLst>
        </pc:spChg>
        <pc:spChg chg="add del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3" creationId="{203CB12B-3D2B-0F62-B740-75DD4F01C42C}"/>
          </ac:spMkLst>
        </pc:spChg>
        <pc:spChg chg="add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9" creationId="{0C541B88-1AE9-40C3-AFD5-967787C1979F}"/>
          </ac:spMkLst>
        </pc:spChg>
        <pc:spChg chg="add del">
          <ac:chgData name="Tyler, James Lee" userId="S::jlt104@pitt.edu::a4dafdf2-e930-4d1d-a35d-f2063ce59334" providerId="AD" clId="Web-{F4BCAEEA-64E5-479D-AE81-503B1CF696E7}" dt="2024-10-31T20:15:04.637" v="1"/>
          <ac:spMkLst>
            <pc:docMk/>
            <pc:sldMk cId="375927916" sldId="257"/>
            <ac:spMk id="10" creationId="{9228552E-C8B1-4A80-8448-0787CE0FC704}"/>
          </ac:spMkLst>
        </pc:spChg>
        <pc:spChg chg="add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11" creationId="{E5F17139-31EE-46AC-B04F-DBBD852DD6CB}"/>
          </ac:spMkLst>
        </pc:spChg>
        <pc:spChg chg="add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17" creationId="{89D16701-DA76-4F72-BB63-E2C3FFBDFE0F}"/>
          </ac:spMkLst>
        </pc:spChg>
        <pc:spChg chg="add">
          <ac:chgData name="Tyler, James Lee" userId="S::jlt104@pitt.edu::a4dafdf2-e930-4d1d-a35d-f2063ce59334" providerId="AD" clId="Web-{F4BCAEEA-64E5-479D-AE81-503B1CF696E7}" dt="2024-10-31T20:15:04.683" v="2"/>
          <ac:spMkLst>
            <pc:docMk/>
            <pc:sldMk cId="375927916" sldId="257"/>
            <ac:spMk id="19" creationId="{1CC28BE1-9DC6-43FE-9582-39F091098D77}"/>
          </ac:spMkLst>
        </pc:spChg>
        <pc:grpChg chg="add">
          <ac:chgData name="Tyler, James Lee" userId="S::jlt104@pitt.edu::a4dafdf2-e930-4d1d-a35d-f2063ce59334" providerId="AD" clId="Web-{F4BCAEEA-64E5-479D-AE81-503B1CF696E7}" dt="2024-10-31T20:15:04.683" v="2"/>
          <ac:grpSpMkLst>
            <pc:docMk/>
            <pc:sldMk cId="375927916" sldId="257"/>
            <ac:grpSpMk id="13" creationId="{7CF625D3-71A3-4F30-A096-8EF334E959D0}"/>
          </ac:grpSpMkLst>
        </pc:grpChg>
        <pc:grpChg chg="add">
          <ac:chgData name="Tyler, James Lee" userId="S::jlt104@pitt.edu::a4dafdf2-e930-4d1d-a35d-f2063ce59334" providerId="AD" clId="Web-{F4BCAEEA-64E5-479D-AE81-503B1CF696E7}" dt="2024-10-31T20:15:04.683" v="2"/>
          <ac:grpSpMkLst>
            <pc:docMk/>
            <pc:sldMk cId="375927916" sldId="257"/>
            <ac:grpSpMk id="21" creationId="{AF9AF3F3-CE0C-4125-BDD7-346487FA0B40}"/>
          </ac:grpSpMkLst>
        </pc:grpChg>
        <pc:graphicFrameChg chg="add del">
          <ac:chgData name="Tyler, James Lee" userId="S::jlt104@pitt.edu::a4dafdf2-e930-4d1d-a35d-f2063ce59334" providerId="AD" clId="Web-{F4BCAEEA-64E5-479D-AE81-503B1CF696E7}" dt="2024-10-31T20:15:04.637" v="1"/>
          <ac:graphicFrameMkLst>
            <pc:docMk/>
            <pc:sldMk cId="375927916" sldId="257"/>
            <ac:graphicFrameMk id="5" creationId="{62334F1E-1649-BBD0-4629-ADD1B0CA417C}"/>
          </ac:graphicFrameMkLst>
        </pc:graphicFrameChg>
        <pc:graphicFrameChg chg="add">
          <ac:chgData name="Tyler, James Lee" userId="S::jlt104@pitt.edu::a4dafdf2-e930-4d1d-a35d-f2063ce59334" providerId="AD" clId="Web-{F4BCAEEA-64E5-479D-AE81-503B1CF696E7}" dt="2024-10-31T20:15:04.683" v="2"/>
          <ac:graphicFrameMkLst>
            <pc:docMk/>
            <pc:sldMk cId="375927916" sldId="257"/>
            <ac:graphicFrameMk id="12" creationId="{4C35075A-47AC-5ACE-FA58-F669D4A2C015}"/>
          </ac:graphicFrameMkLst>
        </pc:graphicFrameChg>
        <pc:picChg chg="add del">
          <ac:chgData name="Tyler, James Lee" userId="S::jlt104@pitt.edu::a4dafdf2-e930-4d1d-a35d-f2063ce59334" providerId="AD" clId="Web-{F4BCAEEA-64E5-479D-AE81-503B1CF696E7}" dt="2024-10-31T20:15:04.637" v="1"/>
          <ac:picMkLst>
            <pc:docMk/>
            <pc:sldMk cId="375927916" sldId="257"/>
            <ac:picMk id="6" creationId="{E87474C3-DFBA-6091-CC14-E33E9029E13A}"/>
          </ac:picMkLst>
        </pc:picChg>
      </pc:sldChg>
      <pc:sldChg chg="addSp delSp modSp mod setBg">
        <pc:chgData name="Tyler, James Lee" userId="S::jlt104@pitt.edu::a4dafdf2-e930-4d1d-a35d-f2063ce59334" providerId="AD" clId="Web-{F4BCAEEA-64E5-479D-AE81-503B1CF696E7}" dt="2024-10-31T20:15:24.310" v="3"/>
        <pc:sldMkLst>
          <pc:docMk/>
          <pc:sldMk cId="1151129951" sldId="265"/>
        </pc:sldMkLst>
        <pc:spChg chg="mod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2" creationId="{9DE31AF8-6B8A-08BD-289C-7E7CF37BE3DE}"/>
          </ac:spMkLst>
        </pc:spChg>
        <pc:spChg chg="del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3" creationId="{EE528631-C5F2-2621-1594-485B90533E31}"/>
          </ac:spMkLst>
        </pc:spChg>
        <pc:spChg chg="add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9" creationId="{BACC6370-2D7E-4714-9D71-7542949D7D5D}"/>
          </ac:spMkLst>
        </pc:spChg>
        <pc:spChg chg="add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11" creationId="{F68B3F68-107C-434F-AA38-110D5EA91B85}"/>
          </ac:spMkLst>
        </pc:spChg>
        <pc:spChg chg="add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13" creationId="{AAD0DBB9-1A4B-4391-81D4-CB19F9AB918A}"/>
          </ac:spMkLst>
        </pc:spChg>
        <pc:spChg chg="add">
          <ac:chgData name="Tyler, James Lee" userId="S::jlt104@pitt.edu::a4dafdf2-e930-4d1d-a35d-f2063ce59334" providerId="AD" clId="Web-{F4BCAEEA-64E5-479D-AE81-503B1CF696E7}" dt="2024-10-31T20:15:24.310" v="3"/>
          <ac:spMkLst>
            <pc:docMk/>
            <pc:sldMk cId="1151129951" sldId="265"/>
            <ac:spMk id="15" creationId="{063BBA22-50EA-4C4D-BE05-F1CE4E63AA56}"/>
          </ac:spMkLst>
        </pc:spChg>
        <pc:graphicFrameChg chg="add">
          <ac:chgData name="Tyler, James Lee" userId="S::jlt104@pitt.edu::a4dafdf2-e930-4d1d-a35d-f2063ce59334" providerId="AD" clId="Web-{F4BCAEEA-64E5-479D-AE81-503B1CF696E7}" dt="2024-10-31T20:15:24.310" v="3"/>
          <ac:graphicFrameMkLst>
            <pc:docMk/>
            <pc:sldMk cId="1151129951" sldId="265"/>
            <ac:graphicFrameMk id="5" creationId="{0FDE40C4-47E1-97E9-2765-E7C0B3C41B9B}"/>
          </ac:graphicFrameMkLst>
        </pc:graphicFrameChg>
      </pc:sldChg>
      <pc:sldChg chg="modSp new">
        <pc:chgData name="Tyler, James Lee" userId="S::jlt104@pitt.edu::a4dafdf2-e930-4d1d-a35d-f2063ce59334" providerId="AD" clId="Web-{F4BCAEEA-64E5-479D-AE81-503B1CF696E7}" dt="2024-10-31T20:18:11.977" v="6" actId="20577"/>
        <pc:sldMkLst>
          <pc:docMk/>
          <pc:sldMk cId="3845273310" sldId="286"/>
        </pc:sldMkLst>
        <pc:spChg chg="mod">
          <ac:chgData name="Tyler, James Lee" userId="S::jlt104@pitt.edu::a4dafdf2-e930-4d1d-a35d-f2063ce59334" providerId="AD" clId="Web-{F4BCAEEA-64E5-479D-AE81-503B1CF696E7}" dt="2024-10-31T20:18:11.977" v="6" actId="20577"/>
          <ac:spMkLst>
            <pc:docMk/>
            <pc:sldMk cId="3845273310" sldId="286"/>
            <ac:spMk id="2" creationId="{4BC080F7-4948-FFF5-8FCB-57241AC6B211}"/>
          </ac:spMkLst>
        </pc:spChg>
      </pc:sldChg>
    </pc:docChg>
  </pc:docChgLst>
  <pc:docChgLst>
    <pc:chgData name="Tyler, James Lee" userId="S::jlt104@pitt.edu::a4dafdf2-e930-4d1d-a35d-f2063ce59334" providerId="AD" clId="Web-{667F94BA-6C24-46C8-A815-DA5A516B4142}"/>
    <pc:docChg chg="addSld modSld">
      <pc:chgData name="Tyler, James Lee" userId="S::jlt104@pitt.edu::a4dafdf2-e930-4d1d-a35d-f2063ce59334" providerId="AD" clId="Web-{667F94BA-6C24-46C8-A815-DA5A516B4142}" dt="2024-10-29T14:32:01.543" v="401" actId="20577"/>
      <pc:docMkLst>
        <pc:docMk/>
      </pc:docMkLst>
      <pc:sldChg chg="delSp modSp">
        <pc:chgData name="Tyler, James Lee" userId="S::jlt104@pitt.edu::a4dafdf2-e930-4d1d-a35d-f2063ce59334" providerId="AD" clId="Web-{667F94BA-6C24-46C8-A815-DA5A516B4142}" dt="2024-10-29T14:08:03.769" v="212" actId="20577"/>
        <pc:sldMkLst>
          <pc:docMk/>
          <pc:sldMk cId="109857222" sldId="256"/>
        </pc:sldMkLst>
        <pc:spChg chg="mod">
          <ac:chgData name="Tyler, James Lee" userId="S::jlt104@pitt.edu::a4dafdf2-e930-4d1d-a35d-f2063ce59334" providerId="AD" clId="Web-{667F94BA-6C24-46C8-A815-DA5A516B4142}" dt="2024-10-29T14:06:04.715" v="209" actId="20577"/>
          <ac:spMkLst>
            <pc:docMk/>
            <pc:sldMk cId="109857222" sldId="256"/>
            <ac:spMk id="2" creationId="{00000000-0000-0000-0000-000000000000}"/>
          </ac:spMkLst>
        </pc:spChg>
        <pc:spChg chg="mod">
          <ac:chgData name="Tyler, James Lee" userId="S::jlt104@pitt.edu::a4dafdf2-e930-4d1d-a35d-f2063ce59334" providerId="AD" clId="Web-{667F94BA-6C24-46C8-A815-DA5A516B4142}" dt="2024-10-29T14:08:03.769" v="212" actId="20577"/>
          <ac:spMkLst>
            <pc:docMk/>
            <pc:sldMk cId="109857222" sldId="256"/>
            <ac:spMk id="3" creationId="{00000000-0000-0000-0000-000000000000}"/>
          </ac:spMkLst>
        </pc:spChg>
      </pc:sldChg>
      <pc:sldChg chg="modSp new">
        <pc:chgData name="Tyler, James Lee" userId="S::jlt104@pitt.edu::a4dafdf2-e930-4d1d-a35d-f2063ce59334" providerId="AD" clId="Web-{667F94BA-6C24-46C8-A815-DA5A516B4142}" dt="2024-10-29T14:09:19.086" v="219" actId="20577"/>
        <pc:sldMkLst>
          <pc:docMk/>
          <pc:sldMk cId="375927916" sldId="257"/>
        </pc:sldMkLst>
        <pc:spChg chg="mod">
          <ac:chgData name="Tyler, James Lee" userId="S::jlt104@pitt.edu::a4dafdf2-e930-4d1d-a35d-f2063ce59334" providerId="AD" clId="Web-{667F94BA-6C24-46C8-A815-DA5A516B4142}" dt="2024-10-29T14:09:19.086" v="219" actId="20577"/>
          <ac:spMkLst>
            <pc:docMk/>
            <pc:sldMk cId="375927916" sldId="257"/>
            <ac:spMk id="2" creationId="{BBD3A902-72BE-09AA-EAA6-13D88E10BE2A}"/>
          </ac:spMkLst>
        </pc:spChg>
      </pc:sldChg>
      <pc:sldChg chg="modSp new">
        <pc:chgData name="Tyler, James Lee" userId="S::jlt104@pitt.edu::a4dafdf2-e930-4d1d-a35d-f2063ce59334" providerId="AD" clId="Web-{667F94BA-6C24-46C8-A815-DA5A516B4142}" dt="2024-10-29T14:17:20.787" v="310" actId="20577"/>
        <pc:sldMkLst>
          <pc:docMk/>
          <pc:sldMk cId="4284397979" sldId="258"/>
        </pc:sldMkLst>
      </pc:sldChg>
      <pc:sldChg chg="modSp new">
        <pc:chgData name="Tyler, James Lee" userId="S::jlt104@pitt.edu::a4dafdf2-e930-4d1d-a35d-f2063ce59334" providerId="AD" clId="Web-{667F94BA-6C24-46C8-A815-DA5A516B4142}" dt="2024-10-29T14:25:27.926" v="350" actId="20577"/>
        <pc:sldMkLst>
          <pc:docMk/>
          <pc:sldMk cId="3182020418" sldId="259"/>
        </pc:sldMkLst>
      </pc:sldChg>
      <pc:sldChg chg="modSp new">
        <pc:chgData name="Tyler, James Lee" userId="S::jlt104@pitt.edu::a4dafdf2-e930-4d1d-a35d-f2063ce59334" providerId="AD" clId="Web-{667F94BA-6C24-46C8-A815-DA5A516B4142}" dt="2024-10-29T14:32:01.543" v="401" actId="20577"/>
        <pc:sldMkLst>
          <pc:docMk/>
          <pc:sldMk cId="3038649835" sldId="260"/>
        </pc:sldMkLst>
        <pc:spChg chg="mod">
          <ac:chgData name="Tyler, James Lee" userId="S::jlt104@pitt.edu::a4dafdf2-e930-4d1d-a35d-f2063ce59334" providerId="AD" clId="Web-{667F94BA-6C24-46C8-A815-DA5A516B4142}" dt="2024-10-29T14:32:01.543" v="401" actId="20577"/>
          <ac:spMkLst>
            <pc:docMk/>
            <pc:sldMk cId="3038649835" sldId="260"/>
            <ac:spMk id="2" creationId="{52E02D04-06A3-ADE8-8C3C-26D0DC54EE93}"/>
          </ac:spMkLst>
        </pc:spChg>
      </pc:sldChg>
    </pc:docChg>
  </pc:docChgLst>
  <pc:docChgLst>
    <pc:chgData name="Tyler, James Lee" userId="S::jlt104@pitt.edu::a4dafdf2-e930-4d1d-a35d-f2063ce59334" providerId="AD" clId="Web-{0A5442DB-9E0B-4C90-9DAD-F0EDFD5FCEC8}"/>
    <pc:docChg chg="modSld">
      <pc:chgData name="Tyler, James Lee" userId="S::jlt104@pitt.edu::a4dafdf2-e930-4d1d-a35d-f2063ce59334" providerId="AD" clId="Web-{0A5442DB-9E0B-4C90-9DAD-F0EDFD5FCEC8}" dt="2024-10-31T01:47:53.880" v="9" actId="14100"/>
      <pc:docMkLst>
        <pc:docMk/>
      </pc:docMkLst>
      <pc:sldChg chg="delSp modSp">
        <pc:chgData name="Tyler, James Lee" userId="S::jlt104@pitt.edu::a4dafdf2-e930-4d1d-a35d-f2063ce59334" providerId="AD" clId="Web-{0A5442DB-9E0B-4C90-9DAD-F0EDFD5FCEC8}" dt="2024-10-31T01:47:53.880" v="9" actId="14100"/>
        <pc:sldMkLst>
          <pc:docMk/>
          <pc:sldMk cId="1418522643" sldId="272"/>
        </pc:sldMkLst>
        <pc:spChg chg="del">
          <ac:chgData name="Tyler, James Lee" userId="S::jlt104@pitt.edu::a4dafdf2-e930-4d1d-a35d-f2063ce59334" providerId="AD" clId="Web-{0A5442DB-9E0B-4C90-9DAD-F0EDFD5FCEC8}" dt="2024-10-31T01:46:57.677" v="0"/>
          <ac:spMkLst>
            <pc:docMk/>
            <pc:sldMk cId="1418522643" sldId="272"/>
            <ac:spMk id="2" creationId="{F7BCF636-B256-1154-4E8A-B19889543567}"/>
          </ac:spMkLst>
        </pc:spChg>
        <pc:graphicFrameChg chg="mod">
          <ac:chgData name="Tyler, James Lee" userId="S::jlt104@pitt.edu::a4dafdf2-e930-4d1d-a35d-f2063ce59334" providerId="AD" clId="Web-{0A5442DB-9E0B-4C90-9DAD-F0EDFD5FCEC8}" dt="2024-10-31T01:47:53.880" v="9" actId="14100"/>
          <ac:graphicFrameMkLst>
            <pc:docMk/>
            <pc:sldMk cId="1418522643" sldId="272"/>
            <ac:graphicFrameMk id="3" creationId="{00000000-0000-0000-0000-000000000000}"/>
          </ac:graphicFrameMkLst>
        </pc:graphicFrameChg>
      </pc:sldChg>
    </pc:docChg>
  </pc:docChgLst>
  <pc:docChgLst>
    <pc:chgData name="Duara, Namrata" userId="S::nad168@pitt.edu::a1a8e532-d2e5-437d-9376-1ee7bba284b8" providerId="AD" clId="Web-{5A29F77E-1E77-9C3E-759C-A5888F857257}"/>
    <pc:docChg chg="modSld">
      <pc:chgData name="Duara, Namrata" userId="S::nad168@pitt.edu::a1a8e532-d2e5-437d-9376-1ee7bba284b8" providerId="AD" clId="Web-{5A29F77E-1E77-9C3E-759C-A5888F857257}" dt="2024-11-01T02:04:35.134" v="122" actId="20577"/>
      <pc:docMkLst>
        <pc:docMk/>
      </pc:docMkLst>
      <pc:sldChg chg="modSp">
        <pc:chgData name="Duara, Namrata" userId="S::nad168@pitt.edu::a1a8e532-d2e5-437d-9376-1ee7bba284b8" providerId="AD" clId="Web-{5A29F77E-1E77-9C3E-759C-A5888F857257}" dt="2024-11-01T02:00:51.422" v="91" actId="20577"/>
        <pc:sldMkLst>
          <pc:docMk/>
          <pc:sldMk cId="1151129951" sldId="265"/>
        </pc:sldMkLst>
        <pc:spChg chg="mod">
          <ac:chgData name="Duara, Namrata" userId="S::nad168@pitt.edu::a1a8e532-d2e5-437d-9376-1ee7bba284b8" providerId="AD" clId="Web-{5A29F77E-1E77-9C3E-759C-A5888F857257}" dt="2024-11-01T02:00:51.422" v="91" actId="20577"/>
          <ac:spMkLst>
            <pc:docMk/>
            <pc:sldMk cId="1151129951" sldId="265"/>
            <ac:spMk id="2" creationId="{9DE31AF8-6B8A-08BD-289C-7E7CF37BE3DE}"/>
          </ac:spMkLst>
        </pc:spChg>
      </pc:sldChg>
      <pc:sldChg chg="modSp">
        <pc:chgData name="Duara, Namrata" userId="S::nad168@pitt.edu::a1a8e532-d2e5-437d-9376-1ee7bba284b8" providerId="AD" clId="Web-{5A29F77E-1E77-9C3E-759C-A5888F857257}" dt="2024-11-01T02:04:35.134" v="122" actId="20577"/>
        <pc:sldMkLst>
          <pc:docMk/>
          <pc:sldMk cId="3976716070" sldId="266"/>
        </pc:sldMkLst>
        <pc:spChg chg="mod">
          <ac:chgData name="Duara, Namrata" userId="S::nad168@pitt.edu::a1a8e532-d2e5-437d-9376-1ee7bba284b8" providerId="AD" clId="Web-{5A29F77E-1E77-9C3E-759C-A5888F857257}" dt="2024-11-01T02:04:35.134" v="122" actId="20577"/>
          <ac:spMkLst>
            <pc:docMk/>
            <pc:sldMk cId="3976716070" sldId="266"/>
            <ac:spMk id="2" creationId="{B61CD047-6889-20DD-27E0-00EDB98577FB}"/>
          </ac:spMkLst>
        </pc:spChg>
      </pc:sldChg>
    </pc:docChg>
  </pc:docChgLst>
  <pc:docChgLst>
    <pc:chgData name="Tyler, James Lee" userId="S::jlt104@pitt.edu::a4dafdf2-e930-4d1d-a35d-f2063ce59334" providerId="AD" clId="Web-{86DBC7D6-CE50-40CF-9A5C-741EC7D01C9E}"/>
    <pc:docChg chg="addSld modSld sldOrd">
      <pc:chgData name="Tyler, James Lee" userId="S::jlt104@pitt.edu::a4dafdf2-e930-4d1d-a35d-f2063ce59334" providerId="AD" clId="Web-{86DBC7D6-CE50-40CF-9A5C-741EC7D01C9E}" dt="2024-10-31T00:48:44.805" v="779"/>
      <pc:docMkLst>
        <pc:docMk/>
      </pc:docMkLst>
      <pc:sldChg chg="addSp delSp modSp mod setBg">
        <pc:chgData name="Tyler, James Lee" userId="S::jlt104@pitt.edu::a4dafdf2-e930-4d1d-a35d-f2063ce59334" providerId="AD" clId="Web-{86DBC7D6-CE50-40CF-9A5C-741EC7D01C9E}" dt="2024-10-31T00:46:26.285" v="772"/>
        <pc:sldMkLst>
          <pc:docMk/>
          <pc:sldMk cId="4182797014" sldId="267"/>
        </pc:sldMkLst>
        <pc:spChg chg="mo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2" creationId="{CCA0887B-0001-8D83-010F-052BACF116FB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9" creationId="{E5F17139-31EE-46AC-B04F-DBBD852DD6CB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11" creationId="{AAD42DD4-86F6-4FD2-869F-32D35E310CF6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13" creationId="{4C36B8C5-0DEB-41B5-911D-572E2E835E3C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15" creationId="{B5DC987A-A8C7-4C23-9BF5-33E9F6F21DCB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17" creationId="{F213F2CF-C6DF-4CE1-A6F0-E3B1BFBB0B23}"/>
          </ac:spMkLst>
        </pc:spChg>
        <pc:spChg chg="add">
          <ac:chgData name="Tyler, James Lee" userId="S::jlt104@pitt.edu::a4dafdf2-e930-4d1d-a35d-f2063ce59334" providerId="AD" clId="Web-{86DBC7D6-CE50-40CF-9A5C-741EC7D01C9E}" dt="2024-10-31T00:46:26.285" v="772"/>
          <ac:spMkLst>
            <pc:docMk/>
            <pc:sldMk cId="4182797014" sldId="267"/>
            <ac:spMk id="19" creationId="{84325C15-4820-4911-B66E-A5F917CFAE58}"/>
          </ac:spMkLst>
        </pc:spChg>
        <pc:graphicFrameChg chg="add mod ord modGraphic">
          <ac:chgData name="Tyler, James Lee" userId="S::jlt104@pitt.edu::a4dafdf2-e930-4d1d-a35d-f2063ce59334" providerId="AD" clId="Web-{86DBC7D6-CE50-40CF-9A5C-741EC7D01C9E}" dt="2024-10-31T00:46:26.285" v="772"/>
          <ac:graphicFrameMkLst>
            <pc:docMk/>
            <pc:sldMk cId="4182797014" sldId="267"/>
            <ac:graphicFrameMk id="4" creationId="{21B263C3-039D-79C8-458F-EFD892FDB184}"/>
          </ac:graphicFrameMkLst>
        </pc:graphicFrameChg>
        <pc:picChg chg="add del mod">
          <ac:chgData name="Tyler, James Lee" userId="S::jlt104@pitt.edu::a4dafdf2-e930-4d1d-a35d-f2063ce59334" providerId="AD" clId="Web-{86DBC7D6-CE50-40CF-9A5C-741EC7D01C9E}" dt="2024-10-31T00:30:52.499" v="679"/>
          <ac:picMkLst>
            <pc:docMk/>
            <pc:sldMk cId="4182797014" sldId="267"/>
            <ac:picMk id="5" creationId="{4AEDD538-7D1A-5337-70DD-0DEF7609026A}"/>
          </ac:picMkLst>
        </pc:picChg>
      </pc:sldChg>
      <pc:sldChg chg="addSp modSp mod setBg">
        <pc:chgData name="Tyler, James Lee" userId="S::jlt104@pitt.edu::a4dafdf2-e930-4d1d-a35d-f2063ce59334" providerId="AD" clId="Web-{86DBC7D6-CE50-40CF-9A5C-741EC7D01C9E}" dt="2024-10-31T00:33:47.698" v="693"/>
        <pc:sldMkLst>
          <pc:docMk/>
          <pc:sldMk cId="1729362791" sldId="268"/>
        </pc:sldMkLst>
        <pc:spChg chg="mod">
          <ac:chgData name="Tyler, James Lee" userId="S::jlt104@pitt.edu::a4dafdf2-e930-4d1d-a35d-f2063ce59334" providerId="AD" clId="Web-{86DBC7D6-CE50-40CF-9A5C-741EC7D01C9E}" dt="2024-10-31T00:33:47.698" v="693"/>
          <ac:spMkLst>
            <pc:docMk/>
            <pc:sldMk cId="1729362791" sldId="268"/>
            <ac:spMk id="2" creationId="{F9704473-C3A4-374D-8A96-5F83D9576CDF}"/>
          </ac:spMkLst>
        </pc:spChg>
        <pc:spChg chg="add">
          <ac:chgData name="Tyler, James Lee" userId="S::jlt104@pitt.edu::a4dafdf2-e930-4d1d-a35d-f2063ce59334" providerId="AD" clId="Web-{86DBC7D6-CE50-40CF-9A5C-741EC7D01C9E}" dt="2024-10-31T00:33:47.698" v="693"/>
          <ac:spMkLst>
            <pc:docMk/>
            <pc:sldMk cId="1729362791" sldId="268"/>
            <ac:spMk id="21" creationId="{C3896A03-3945-419A-B66B-4EE266EDD152}"/>
          </ac:spMkLst>
        </pc:spChg>
        <pc:spChg chg="add">
          <ac:chgData name="Tyler, James Lee" userId="S::jlt104@pitt.edu::a4dafdf2-e930-4d1d-a35d-f2063ce59334" providerId="AD" clId="Web-{86DBC7D6-CE50-40CF-9A5C-741EC7D01C9E}" dt="2024-10-31T00:33:47.698" v="693"/>
          <ac:spMkLst>
            <pc:docMk/>
            <pc:sldMk cId="1729362791" sldId="268"/>
            <ac:spMk id="23" creationId="{B34F5AD2-EDBD-4BBD-A55C-EAFFD0C7097A}"/>
          </ac:spMkLst>
        </pc:spChg>
        <pc:spChg chg="add">
          <ac:chgData name="Tyler, James Lee" userId="S::jlt104@pitt.edu::a4dafdf2-e930-4d1d-a35d-f2063ce59334" providerId="AD" clId="Web-{86DBC7D6-CE50-40CF-9A5C-741EC7D01C9E}" dt="2024-10-31T00:33:47.698" v="693"/>
          <ac:spMkLst>
            <pc:docMk/>
            <pc:sldMk cId="1729362791" sldId="268"/>
            <ac:spMk id="25" creationId="{6832F003-FCA6-4CFB-A2EA-308F3AA257D1}"/>
          </ac:spMkLst>
        </pc:spChg>
        <pc:picChg chg="mod ord">
          <ac:chgData name="Tyler, James Lee" userId="S::jlt104@pitt.edu::a4dafdf2-e930-4d1d-a35d-f2063ce59334" providerId="AD" clId="Web-{86DBC7D6-CE50-40CF-9A5C-741EC7D01C9E}" dt="2024-10-31T00:33:47.698" v="693"/>
          <ac:picMkLst>
            <pc:docMk/>
            <pc:sldMk cId="1729362791" sldId="268"/>
            <ac:picMk id="11" creationId="{2D4BF487-4DBA-67AE-64CC-C83DA91F8EB4}"/>
          </ac:picMkLst>
        </pc:picChg>
        <pc:picChg chg="mod">
          <ac:chgData name="Tyler, James Lee" userId="S::jlt104@pitt.edu::a4dafdf2-e930-4d1d-a35d-f2063ce59334" providerId="AD" clId="Web-{86DBC7D6-CE50-40CF-9A5C-741EC7D01C9E}" dt="2024-10-31T00:33:47.698" v="693"/>
          <ac:picMkLst>
            <pc:docMk/>
            <pc:sldMk cId="1729362791" sldId="268"/>
            <ac:picMk id="12" creationId="{6A3D1996-FC12-9632-D6C5-AE00415D8251}"/>
          </ac:picMkLst>
        </pc:picChg>
        <pc:picChg chg="mod">
          <ac:chgData name="Tyler, James Lee" userId="S::jlt104@pitt.edu::a4dafdf2-e930-4d1d-a35d-f2063ce59334" providerId="AD" clId="Web-{86DBC7D6-CE50-40CF-9A5C-741EC7D01C9E}" dt="2024-10-31T00:33:47.698" v="693"/>
          <ac:picMkLst>
            <pc:docMk/>
            <pc:sldMk cId="1729362791" sldId="268"/>
            <ac:picMk id="14" creationId="{0D30EA65-BA17-D2E7-EC2C-A394B4D06EA1}"/>
          </ac:picMkLst>
        </pc:picChg>
        <pc:picChg chg="mod">
          <ac:chgData name="Tyler, James Lee" userId="S::jlt104@pitt.edu::a4dafdf2-e930-4d1d-a35d-f2063ce59334" providerId="AD" clId="Web-{86DBC7D6-CE50-40CF-9A5C-741EC7D01C9E}" dt="2024-10-31T00:33:47.698" v="693"/>
          <ac:picMkLst>
            <pc:docMk/>
            <pc:sldMk cId="1729362791" sldId="268"/>
            <ac:picMk id="16" creationId="{50D80A5C-E65F-580F-C724-ECC887866FB5}"/>
          </ac:picMkLst>
        </pc:picChg>
      </pc:sldChg>
      <pc:sldChg chg="addSp delSp modSp new mod setBg">
        <pc:chgData name="Tyler, James Lee" userId="S::jlt104@pitt.edu::a4dafdf2-e930-4d1d-a35d-f2063ce59334" providerId="AD" clId="Web-{86DBC7D6-CE50-40CF-9A5C-741EC7D01C9E}" dt="2024-10-31T00:48:44.805" v="779"/>
        <pc:sldMkLst>
          <pc:docMk/>
          <pc:sldMk cId="4055348540" sldId="269"/>
        </pc:sldMkLst>
        <pc:spChg chg="mod">
          <ac:chgData name="Tyler, James Lee" userId="S::jlt104@pitt.edu::a4dafdf2-e930-4d1d-a35d-f2063ce59334" providerId="AD" clId="Web-{86DBC7D6-CE50-40CF-9A5C-741EC7D01C9E}" dt="2024-10-31T00:48:44.805" v="779"/>
          <ac:spMkLst>
            <pc:docMk/>
            <pc:sldMk cId="4055348540" sldId="269"/>
            <ac:spMk id="2" creationId="{3F0B9928-C32A-2165-3E86-809DD6C322CE}"/>
          </ac:spMkLst>
        </pc:spChg>
        <pc:spChg chg="add del mod">
          <ac:chgData name="Tyler, James Lee" userId="S::jlt104@pitt.edu::a4dafdf2-e930-4d1d-a35d-f2063ce59334" providerId="AD" clId="Web-{86DBC7D6-CE50-40CF-9A5C-741EC7D01C9E}" dt="2024-10-31T00:48:44.805" v="779"/>
          <ac:spMkLst>
            <pc:docMk/>
            <pc:sldMk cId="4055348540" sldId="269"/>
            <ac:spMk id="3" creationId="{D3291F51-5FE7-D651-8C76-0AFCCD66E4AD}"/>
          </ac:spMkLst>
        </pc:spChg>
        <pc:spChg chg="add del">
          <ac:chgData name="Tyler, James Lee" userId="S::jlt104@pitt.edu::a4dafdf2-e930-4d1d-a35d-f2063ce59334" providerId="AD" clId="Web-{86DBC7D6-CE50-40CF-9A5C-741EC7D01C9E}" dt="2024-10-31T00:48:40.930" v="776"/>
          <ac:spMkLst>
            <pc:docMk/>
            <pc:sldMk cId="4055348540" sldId="269"/>
            <ac:spMk id="9" creationId="{2659FDB4-FCBE-4A89-B46D-43D4FA54464D}"/>
          </ac:spMkLst>
        </pc:spChg>
        <pc:spChg chg="add del">
          <ac:chgData name="Tyler, James Lee" userId="S::jlt104@pitt.edu::a4dafdf2-e930-4d1d-a35d-f2063ce59334" providerId="AD" clId="Web-{86DBC7D6-CE50-40CF-9A5C-741EC7D01C9E}" dt="2024-10-31T00:48:44.773" v="778"/>
          <ac:spMkLst>
            <pc:docMk/>
            <pc:sldMk cId="4055348540" sldId="269"/>
            <ac:spMk id="13" creationId="{AAD0DBB9-1A4B-4391-81D4-CB19F9AB918A}"/>
          </ac:spMkLst>
        </pc:spChg>
        <pc:spChg chg="add del">
          <ac:chgData name="Tyler, James Lee" userId="S::jlt104@pitt.edu::a4dafdf2-e930-4d1d-a35d-f2063ce59334" providerId="AD" clId="Web-{86DBC7D6-CE50-40CF-9A5C-741EC7D01C9E}" dt="2024-10-31T00:48:44.773" v="778"/>
          <ac:spMkLst>
            <pc:docMk/>
            <pc:sldMk cId="4055348540" sldId="269"/>
            <ac:spMk id="14" creationId="{BACC6370-2D7E-4714-9D71-7542949D7D5D}"/>
          </ac:spMkLst>
        </pc:spChg>
        <pc:spChg chg="add del">
          <ac:chgData name="Tyler, James Lee" userId="S::jlt104@pitt.edu::a4dafdf2-e930-4d1d-a35d-f2063ce59334" providerId="AD" clId="Web-{86DBC7D6-CE50-40CF-9A5C-741EC7D01C9E}" dt="2024-10-31T00:48:44.773" v="778"/>
          <ac:spMkLst>
            <pc:docMk/>
            <pc:sldMk cId="4055348540" sldId="269"/>
            <ac:spMk id="15" creationId="{063BBA22-50EA-4C4D-BE05-F1CE4E63AA56}"/>
          </ac:spMkLst>
        </pc:spChg>
        <pc:spChg chg="add del">
          <ac:chgData name="Tyler, James Lee" userId="S::jlt104@pitt.edu::a4dafdf2-e930-4d1d-a35d-f2063ce59334" providerId="AD" clId="Web-{86DBC7D6-CE50-40CF-9A5C-741EC7D01C9E}" dt="2024-10-31T00:48:44.773" v="778"/>
          <ac:spMkLst>
            <pc:docMk/>
            <pc:sldMk cId="4055348540" sldId="269"/>
            <ac:spMk id="16" creationId="{F68B3F68-107C-434F-AA38-110D5EA91B85}"/>
          </ac:spMkLst>
        </pc:spChg>
        <pc:spChg chg="add">
          <ac:chgData name="Tyler, James Lee" userId="S::jlt104@pitt.edu::a4dafdf2-e930-4d1d-a35d-f2063ce59334" providerId="AD" clId="Web-{86DBC7D6-CE50-40CF-9A5C-741EC7D01C9E}" dt="2024-10-31T00:48:44.805" v="779"/>
          <ac:spMkLst>
            <pc:docMk/>
            <pc:sldMk cId="4055348540" sldId="269"/>
            <ac:spMk id="19" creationId="{2659FDB4-FCBE-4A89-B46D-43D4FA54464D}"/>
          </ac:spMkLst>
        </pc:spChg>
        <pc:graphicFrameChg chg="add del">
          <ac:chgData name="Tyler, James Lee" userId="S::jlt104@pitt.edu::a4dafdf2-e930-4d1d-a35d-f2063ce59334" providerId="AD" clId="Web-{86DBC7D6-CE50-40CF-9A5C-741EC7D01C9E}" dt="2024-10-31T00:48:40.930" v="776"/>
          <ac:graphicFrameMkLst>
            <pc:docMk/>
            <pc:sldMk cId="4055348540" sldId="269"/>
            <ac:graphicFrameMk id="5" creationId="{5A2DD876-62A0-ADD0-919D-3B837547E23D}"/>
          </ac:graphicFrameMkLst>
        </pc:graphicFrameChg>
        <pc:graphicFrameChg chg="add del">
          <ac:chgData name="Tyler, James Lee" userId="S::jlt104@pitt.edu::a4dafdf2-e930-4d1d-a35d-f2063ce59334" providerId="AD" clId="Web-{86DBC7D6-CE50-40CF-9A5C-741EC7D01C9E}" dt="2024-10-31T00:48:44.773" v="778"/>
          <ac:graphicFrameMkLst>
            <pc:docMk/>
            <pc:sldMk cId="4055348540" sldId="269"/>
            <ac:graphicFrameMk id="17" creationId="{C1EAF4F8-ADCA-F28E-83D6-72F057327D39}"/>
          </ac:graphicFrameMkLst>
        </pc:graphicFrameChg>
        <pc:graphicFrameChg chg="add">
          <ac:chgData name="Tyler, James Lee" userId="S::jlt104@pitt.edu::a4dafdf2-e930-4d1d-a35d-f2063ce59334" providerId="AD" clId="Web-{86DBC7D6-CE50-40CF-9A5C-741EC7D01C9E}" dt="2024-10-31T00:48:44.805" v="779"/>
          <ac:graphicFrameMkLst>
            <pc:docMk/>
            <pc:sldMk cId="4055348540" sldId="269"/>
            <ac:graphicFrameMk id="21" creationId="{5A2DD876-62A0-ADD0-919D-3B837547E23D}"/>
          </ac:graphicFrameMkLst>
        </pc:graphicFrameChg>
        <pc:cxnChg chg="add del">
          <ac:chgData name="Tyler, James Lee" userId="S::jlt104@pitt.edu::a4dafdf2-e930-4d1d-a35d-f2063ce59334" providerId="AD" clId="Web-{86DBC7D6-CE50-40CF-9A5C-741EC7D01C9E}" dt="2024-10-31T00:48:40.930" v="776"/>
          <ac:cxnSpMkLst>
            <pc:docMk/>
            <pc:sldMk cId="4055348540" sldId="269"/>
            <ac:cxnSpMk id="11" creationId="{C8F51B3F-8331-4E4A-AE96-D47B1006EEAD}"/>
          </ac:cxnSpMkLst>
        </pc:cxnChg>
        <pc:cxnChg chg="add">
          <ac:chgData name="Tyler, James Lee" userId="S::jlt104@pitt.edu::a4dafdf2-e930-4d1d-a35d-f2063ce59334" providerId="AD" clId="Web-{86DBC7D6-CE50-40CF-9A5C-741EC7D01C9E}" dt="2024-10-31T00:48:44.805" v="779"/>
          <ac:cxnSpMkLst>
            <pc:docMk/>
            <pc:sldMk cId="4055348540" sldId="269"/>
            <ac:cxnSpMk id="20" creationId="{C8F51B3F-8331-4E4A-AE96-D47B1006EEAD}"/>
          </ac:cxnSpMkLst>
        </pc:cxnChg>
      </pc:sldChg>
      <pc:sldChg chg="new ord">
        <pc:chgData name="Tyler, James Lee" userId="S::jlt104@pitt.edu::a4dafdf2-e930-4d1d-a35d-f2063ce59334" providerId="AD" clId="Web-{86DBC7D6-CE50-40CF-9A5C-741EC7D01C9E}" dt="2024-10-31T00:47:07.302" v="773"/>
        <pc:sldMkLst>
          <pc:docMk/>
          <pc:sldMk cId="3762385261" sldId="270"/>
        </pc:sldMkLst>
      </pc:sldChg>
      <pc:sldChg chg="new ord">
        <pc:chgData name="Tyler, James Lee" userId="S::jlt104@pitt.edu::a4dafdf2-e930-4d1d-a35d-f2063ce59334" providerId="AD" clId="Web-{86DBC7D6-CE50-40CF-9A5C-741EC7D01C9E}" dt="2024-10-31T00:47:12.911" v="774"/>
        <pc:sldMkLst>
          <pc:docMk/>
          <pc:sldMk cId="4146677553" sldId="271"/>
        </pc:sldMkLst>
      </pc:sldChg>
    </pc:docChg>
  </pc:docChgLst>
  <pc:docChgLst>
    <pc:chgData name="Duara, Namrata" userId="S::nad168@pitt.edu::a1a8e532-d2e5-437d-9376-1ee7bba284b8" providerId="AD" clId="Web-{0945F4C8-2C90-D0B6-B9C8-1CE73B5D98B1}"/>
    <pc:docChg chg="addSld modSld sldOrd">
      <pc:chgData name="Duara, Namrata" userId="S::nad168@pitt.edu::a1a8e532-d2e5-437d-9376-1ee7bba284b8" providerId="AD" clId="Web-{0945F4C8-2C90-D0B6-B9C8-1CE73B5D98B1}" dt="2024-10-30T03:22:15.368" v="1287" actId="20577"/>
      <pc:docMkLst>
        <pc:docMk/>
      </pc:docMkLst>
      <pc:sldChg chg="addSp delSp modSp new mod setBg">
        <pc:chgData name="Duara, Namrata" userId="S::nad168@pitt.edu::a1a8e532-d2e5-437d-9376-1ee7bba284b8" providerId="AD" clId="Web-{0945F4C8-2C90-D0B6-B9C8-1CE73B5D98B1}" dt="2024-10-30T03:13:41.686" v="1261" actId="1076"/>
        <pc:sldMkLst>
          <pc:docMk/>
          <pc:sldMk cId="322516684" sldId="261"/>
        </pc:sldMkLst>
        <pc:spChg chg="add mod">
          <ac:chgData name="Duara, Namrata" userId="S::nad168@pitt.edu::a1a8e532-d2e5-437d-9376-1ee7bba284b8" providerId="AD" clId="Web-{0945F4C8-2C90-D0B6-B9C8-1CE73B5D98B1}" dt="2024-10-30T02:25:46.591" v="59"/>
          <ac:spMkLst>
            <pc:docMk/>
            <pc:sldMk cId="322516684" sldId="261"/>
            <ac:spMk id="6" creationId="{067CC325-C181-FDD4-2B01-3BBF532CFD32}"/>
          </ac:spMkLst>
        </pc:spChg>
        <pc:picChg chg="add mod">
          <ac:chgData name="Duara, Namrata" userId="S::nad168@pitt.edu::a1a8e532-d2e5-437d-9376-1ee7bba284b8" providerId="AD" clId="Web-{0945F4C8-2C90-D0B6-B9C8-1CE73B5D98B1}" dt="2024-10-30T03:13:41.686" v="1261" actId="1076"/>
          <ac:picMkLst>
            <pc:docMk/>
            <pc:sldMk cId="322516684" sldId="261"/>
            <ac:picMk id="3" creationId="{48651CAC-9658-C7F6-A50C-5C00E2976D6E}"/>
          </ac:picMkLst>
        </pc:picChg>
      </pc:sldChg>
      <pc:sldChg chg="addSp delSp modSp new ord">
        <pc:chgData name="Duara, Namrata" userId="S::nad168@pitt.edu::a1a8e532-d2e5-437d-9376-1ee7bba284b8" providerId="AD" clId="Web-{0945F4C8-2C90-D0B6-B9C8-1CE73B5D98B1}" dt="2024-10-30T03:22:15.368" v="1287" actId="20577"/>
        <pc:sldMkLst>
          <pc:docMk/>
          <pc:sldMk cId="4140996671" sldId="262"/>
        </pc:sldMkLst>
        <pc:spChg chg="mod">
          <ac:chgData name="Duara, Namrata" userId="S::nad168@pitt.edu::a1a8e532-d2e5-437d-9376-1ee7bba284b8" providerId="AD" clId="Web-{0945F4C8-2C90-D0B6-B9C8-1CE73B5D98B1}" dt="2024-10-30T03:22:15.368" v="1287" actId="20577"/>
          <ac:spMkLst>
            <pc:docMk/>
            <pc:sldMk cId="4140996671" sldId="262"/>
            <ac:spMk id="2" creationId="{D212CB30-D887-679F-4C39-72233AFBDF12}"/>
          </ac:spMkLst>
        </pc:spChg>
        <pc:graphicFrameChg chg="add mod modGraphic">
          <ac:chgData name="Duara, Namrata" userId="S::nad168@pitt.edu::a1a8e532-d2e5-437d-9376-1ee7bba284b8" providerId="AD" clId="Web-{0945F4C8-2C90-D0B6-B9C8-1CE73B5D98B1}" dt="2024-10-30T03:13:35.139" v="1260"/>
          <ac:graphicFrameMkLst>
            <pc:docMk/>
            <pc:sldMk cId="4140996671" sldId="262"/>
            <ac:graphicFrameMk id="5" creationId="{A85EA260-69CF-2170-A8ED-589C53005F43}"/>
          </ac:graphicFrameMkLst>
        </pc:graphicFrameChg>
      </pc:sldChg>
      <pc:sldChg chg="new">
        <pc:chgData name="Duara, Namrata" userId="S::nad168@pitt.edu::a1a8e532-d2e5-437d-9376-1ee7bba284b8" providerId="AD" clId="Web-{0945F4C8-2C90-D0B6-B9C8-1CE73B5D98B1}" dt="2024-10-30T03:15:38.235" v="1262"/>
        <pc:sldMkLst>
          <pc:docMk/>
          <pc:sldMk cId="3664168244" sldId="263"/>
        </pc:sldMkLst>
      </pc:sldChg>
      <pc:sldChg chg="addSp delSp modSp new">
        <pc:chgData name="Duara, Namrata" userId="S::nad168@pitt.edu::a1a8e532-d2e5-437d-9376-1ee7bba284b8" providerId="AD" clId="Web-{0945F4C8-2C90-D0B6-B9C8-1CE73B5D98B1}" dt="2024-10-30T03:21:34.867" v="1284" actId="1076"/>
        <pc:sldMkLst>
          <pc:docMk/>
          <pc:sldMk cId="215645394" sldId="264"/>
        </pc:sldMkLst>
        <pc:spChg chg="mod">
          <ac:chgData name="Duara, Namrata" userId="S::nad168@pitt.edu::a1a8e532-d2e5-437d-9376-1ee7bba284b8" providerId="AD" clId="Web-{0945F4C8-2C90-D0B6-B9C8-1CE73B5D98B1}" dt="2024-10-30T03:21:34.867" v="1284" actId="1076"/>
          <ac:spMkLst>
            <pc:docMk/>
            <pc:sldMk cId="215645394" sldId="264"/>
            <ac:spMk id="2" creationId="{17E8718C-36D3-FBF9-7511-B6DCB2606423}"/>
          </ac:spMkLst>
        </pc:spChg>
        <pc:picChg chg="add mod modCrop">
          <ac:chgData name="Duara, Namrata" userId="S::nad168@pitt.edu::a1a8e532-d2e5-437d-9376-1ee7bba284b8" providerId="AD" clId="Web-{0945F4C8-2C90-D0B6-B9C8-1CE73B5D98B1}" dt="2024-10-30T03:18:14.254" v="1267"/>
          <ac:picMkLst>
            <pc:docMk/>
            <pc:sldMk cId="215645394" sldId="264"/>
            <ac:picMk id="4" creationId="{19C4D3FC-5863-1E57-E21A-743A18068547}"/>
          </ac:picMkLst>
        </pc:picChg>
      </pc:sldChg>
    </pc:docChg>
  </pc:docChgLst>
  <pc:docChgLst>
    <pc:chgData name="Tyler, James Lee" userId="S::jlt104@pitt.edu::a4dafdf2-e930-4d1d-a35d-f2063ce59334" providerId="AD" clId="Web-{88ED8840-0834-4024-A044-F072B4670B2F}"/>
    <pc:docChg chg="addSld modSld">
      <pc:chgData name="Tyler, James Lee" userId="S::jlt104@pitt.edu::a4dafdf2-e930-4d1d-a35d-f2063ce59334" providerId="AD" clId="Web-{88ED8840-0834-4024-A044-F072B4670B2F}" dt="2024-10-30T16:25:37.907" v="1"/>
      <pc:docMkLst>
        <pc:docMk/>
      </pc:docMkLst>
      <pc:sldChg chg="modSp">
        <pc:chgData name="Tyler, James Lee" userId="S::jlt104@pitt.edu::a4dafdf2-e930-4d1d-a35d-f2063ce59334" providerId="AD" clId="Web-{88ED8840-0834-4024-A044-F072B4670B2F}" dt="2024-10-30T16:12:52.850" v="0" actId="20577"/>
        <pc:sldMkLst>
          <pc:docMk/>
          <pc:sldMk cId="3038649835" sldId="260"/>
        </pc:sldMkLst>
        <pc:spChg chg="mod">
          <ac:chgData name="Tyler, James Lee" userId="S::jlt104@pitt.edu::a4dafdf2-e930-4d1d-a35d-f2063ce59334" providerId="AD" clId="Web-{88ED8840-0834-4024-A044-F072B4670B2F}" dt="2024-10-30T16:12:52.850" v="0" actId="20577"/>
          <ac:spMkLst>
            <pc:docMk/>
            <pc:sldMk cId="3038649835" sldId="260"/>
            <ac:spMk id="2" creationId="{52E02D04-06A3-ADE8-8C3C-26D0DC54EE93}"/>
          </ac:spMkLst>
        </pc:spChg>
      </pc:sldChg>
      <pc:sldChg chg="new">
        <pc:chgData name="Tyler, James Lee" userId="S::jlt104@pitt.edu::a4dafdf2-e930-4d1d-a35d-f2063ce59334" providerId="AD" clId="Web-{88ED8840-0834-4024-A044-F072B4670B2F}" dt="2024-10-30T16:25:37.907" v="1"/>
        <pc:sldMkLst>
          <pc:docMk/>
          <pc:sldMk cId="1151129951" sldId="265"/>
        </pc:sldMkLst>
      </pc:sldChg>
    </pc:docChg>
  </pc:docChgLst>
  <pc:docChgLst>
    <pc:chgData name="Tyler, James Lee" userId="S::jlt104@pitt.edu::a4dafdf2-e930-4d1d-a35d-f2063ce59334" providerId="AD" clId="Web-{F9BF08A9-405A-4356-8BE1-D02221699D4D}"/>
    <pc:docChg chg="modSld">
      <pc:chgData name="Tyler, James Lee" userId="S::jlt104@pitt.edu::a4dafdf2-e930-4d1d-a35d-f2063ce59334" providerId="AD" clId="Web-{F9BF08A9-405A-4356-8BE1-D02221699D4D}" dt="2024-11-01T03:27:14.339" v="759" actId="20577"/>
      <pc:docMkLst>
        <pc:docMk/>
      </pc:docMkLst>
      <pc:sldChg chg="modSp">
        <pc:chgData name="Tyler, James Lee" userId="S::jlt104@pitt.edu::a4dafdf2-e930-4d1d-a35d-f2063ce59334" providerId="AD" clId="Web-{F9BF08A9-405A-4356-8BE1-D02221699D4D}" dt="2024-11-01T02:56:22.018" v="2" actId="20577"/>
        <pc:sldMkLst>
          <pc:docMk/>
          <pc:sldMk cId="109857222" sldId="256"/>
        </pc:sldMkLst>
        <pc:spChg chg="mod">
          <ac:chgData name="Tyler, James Lee" userId="S::jlt104@pitt.edu::a4dafdf2-e930-4d1d-a35d-f2063ce59334" providerId="AD" clId="Web-{F9BF08A9-405A-4356-8BE1-D02221699D4D}" dt="2024-11-01T02:56:22.018" v="2" actId="20577"/>
          <ac:spMkLst>
            <pc:docMk/>
            <pc:sldMk cId="109857222" sldId="256"/>
            <ac:spMk id="3" creationId="{00000000-0000-0000-0000-000000000000}"/>
          </ac:spMkLst>
        </pc:spChg>
      </pc:sldChg>
      <pc:sldChg chg="modSp">
        <pc:chgData name="Tyler, James Lee" userId="S::jlt104@pitt.edu::a4dafdf2-e930-4d1d-a35d-f2063ce59334" providerId="AD" clId="Web-{F9BF08A9-405A-4356-8BE1-D02221699D4D}" dt="2024-11-01T03:19:04.757" v="554" actId="20577"/>
        <pc:sldMkLst>
          <pc:docMk/>
          <pc:sldMk cId="375927916" sldId="257"/>
        </pc:sldMkLst>
        <pc:graphicFrameChg chg="modGraphic">
          <ac:chgData name="Tyler, James Lee" userId="S::jlt104@pitt.edu::a4dafdf2-e930-4d1d-a35d-f2063ce59334" providerId="AD" clId="Web-{F9BF08A9-405A-4356-8BE1-D02221699D4D}" dt="2024-11-01T03:19:04.757" v="554" actId="20577"/>
          <ac:graphicFrameMkLst>
            <pc:docMk/>
            <pc:sldMk cId="375927916" sldId="257"/>
            <ac:graphicFrameMk id="46" creationId="{4C35075A-47AC-5ACE-FA58-F669D4A2C015}"/>
          </ac:graphicFrameMkLst>
        </pc:graphicFrameChg>
      </pc:sldChg>
      <pc:sldChg chg="modSp">
        <pc:chgData name="Tyler, James Lee" userId="S::jlt104@pitt.edu::a4dafdf2-e930-4d1d-a35d-f2063ce59334" providerId="AD" clId="Web-{F9BF08A9-405A-4356-8BE1-D02221699D4D}" dt="2024-11-01T03:27:14.339" v="759" actId="20577"/>
        <pc:sldMkLst>
          <pc:docMk/>
          <pc:sldMk cId="2787047106" sldId="287"/>
        </pc:sldMkLst>
        <pc:graphicFrameChg chg="modGraphic">
          <ac:chgData name="Tyler, James Lee" userId="S::jlt104@pitt.edu::a4dafdf2-e930-4d1d-a35d-f2063ce59334" providerId="AD" clId="Web-{F9BF08A9-405A-4356-8BE1-D02221699D4D}" dt="2024-11-01T03:27:14.339" v="759" actId="20577"/>
          <ac:graphicFrameMkLst>
            <pc:docMk/>
            <pc:sldMk cId="2787047106" sldId="287"/>
            <ac:graphicFrameMk id="5" creationId="{16A6DFE2-A4CE-17E5-A1EF-DFE5D121FDB8}"/>
          </ac:graphicFrameMkLst>
        </pc:graphicFrameChg>
      </pc:sldChg>
      <pc:sldChg chg="modSp">
        <pc:chgData name="Tyler, James Lee" userId="S::jlt104@pitt.edu::a4dafdf2-e930-4d1d-a35d-f2063ce59334" providerId="AD" clId="Web-{F9BF08A9-405A-4356-8BE1-D02221699D4D}" dt="2024-11-01T03:03:00.331" v="174" actId="1076"/>
        <pc:sldMkLst>
          <pc:docMk/>
          <pc:sldMk cId="3321969961" sldId="289"/>
        </pc:sldMkLst>
        <pc:graphicFrameChg chg="mod">
          <ac:chgData name="Tyler, James Lee" userId="S::jlt104@pitt.edu::a4dafdf2-e930-4d1d-a35d-f2063ce59334" providerId="AD" clId="Web-{F9BF08A9-405A-4356-8BE1-D02221699D4D}" dt="2024-11-01T03:03:00.331" v="174" actId="1076"/>
          <ac:graphicFrameMkLst>
            <pc:docMk/>
            <pc:sldMk cId="3321969961" sldId="289"/>
            <ac:graphicFrameMk id="5" creationId="{47931084-7FC4-4581-62F0-D89F8733190C}"/>
          </ac:graphicFrameMkLst>
        </pc:graphicFrameChg>
      </pc:sldChg>
    </pc:docChg>
  </pc:docChgLst>
  <pc:docChgLst>
    <pc:chgData name="Nagendiran, Jagadesh" userId="S::jan177@pitt.edu::1c4d53c9-6c32-4a6c-adaa-8f5db3853f39" providerId="AD" clId="Web-{8DA3D1B4-E1EA-7F16-5F54-5B0C9B2E9EA8}"/>
    <pc:docChg chg="modSld">
      <pc:chgData name="Nagendiran, Jagadesh" userId="S::jan177@pitt.edu::1c4d53c9-6c32-4a6c-adaa-8f5db3853f39" providerId="AD" clId="Web-{8DA3D1B4-E1EA-7F16-5F54-5B0C9B2E9EA8}" dt="2024-10-30T17:48:17.371" v="30" actId="20577"/>
      <pc:docMkLst>
        <pc:docMk/>
      </pc:docMkLst>
      <pc:sldChg chg="modSp">
        <pc:chgData name="Nagendiran, Jagadesh" userId="S::jan177@pitt.edu::1c4d53c9-6c32-4a6c-adaa-8f5db3853f39" providerId="AD" clId="Web-{8DA3D1B4-E1EA-7F16-5F54-5B0C9B2E9EA8}" dt="2024-10-30T17:48:17.371" v="30" actId="20577"/>
        <pc:sldMkLst>
          <pc:docMk/>
          <pc:sldMk cId="109857222" sldId="256"/>
        </pc:sldMkLst>
        <pc:spChg chg="mod">
          <ac:chgData name="Nagendiran, Jagadesh" userId="S::jan177@pitt.edu::1c4d53c9-6c32-4a6c-adaa-8f5db3853f39" providerId="AD" clId="Web-{8DA3D1B4-E1EA-7F16-5F54-5B0C9B2E9EA8}" dt="2024-10-30T17:48:17.371" v="30" actId="20577"/>
          <ac:spMkLst>
            <pc:docMk/>
            <pc:sldMk cId="109857222" sldId="256"/>
            <ac:spMk id="3" creationId="{00000000-0000-0000-0000-000000000000}"/>
          </ac:spMkLst>
        </pc:spChg>
      </pc:sldChg>
    </pc:docChg>
  </pc:docChgLst>
  <pc:docChgLst>
    <pc:chgData name="Tyler, James Lee" userId="S::jlt104@pitt.edu::a4dafdf2-e930-4d1d-a35d-f2063ce59334" providerId="AD" clId="Web-{4E42895C-F106-41D9-9349-CACEA2A02337}"/>
    <pc:docChg chg="addSld delSld modSld">
      <pc:chgData name="Tyler, James Lee" userId="S::jlt104@pitt.edu::a4dafdf2-e930-4d1d-a35d-f2063ce59334" providerId="AD" clId="Web-{4E42895C-F106-41D9-9349-CACEA2A02337}" dt="2024-10-31T18:54:33.799" v="16"/>
      <pc:docMkLst>
        <pc:docMk/>
      </pc:docMkLst>
      <pc:sldChg chg="addSp modSp mod setBg">
        <pc:chgData name="Tyler, James Lee" userId="S::jlt104@pitt.edu::a4dafdf2-e930-4d1d-a35d-f2063ce59334" providerId="AD" clId="Web-{4E42895C-F106-41D9-9349-CACEA2A02337}" dt="2024-10-31T18:53:52.783" v="14"/>
        <pc:sldMkLst>
          <pc:docMk/>
          <pc:sldMk cId="109857222" sldId="256"/>
        </pc:sldMkLst>
        <pc:spChg chg="mo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2" creationId="{00000000-0000-0000-0000-000000000000}"/>
          </ac:spMkLst>
        </pc:spChg>
        <pc:spChg chg="mo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3" creationId="{00000000-0000-0000-0000-000000000000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8" creationId="{8C790BE2-4E4F-4AAF-81A2-4A6F4885EBE6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10" creationId="{D28B54C3-B57B-472A-B96E-1FCB67093DC2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12" creationId="{7DB3C429-F8DA-49B9-AF84-21996FCF78B5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14" creationId="{E12088DD-B1AD-40E0-8B86-1D87A2CCD9BE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16" creationId="{C4C9F2B0-1044-46EB-8AEB-C3BFFDE6C2CC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18" creationId="{0C395952-4E26-45A2-8756-2ADFD6E53C6E}"/>
          </ac:spMkLst>
        </pc:spChg>
        <pc:spChg chg="add">
          <ac:chgData name="Tyler, James Lee" userId="S::jlt104@pitt.edu::a4dafdf2-e930-4d1d-a35d-f2063ce59334" providerId="AD" clId="Web-{4E42895C-F106-41D9-9349-CACEA2A02337}" dt="2024-10-31T18:53:52.783" v="14"/>
          <ac:spMkLst>
            <pc:docMk/>
            <pc:sldMk cId="109857222" sldId="256"/>
            <ac:spMk id="20" creationId="{4734BADF-9461-4621-B112-2D7BABEA7DD0}"/>
          </ac:spMkLst>
        </pc:spChg>
      </pc:sldChg>
      <pc:sldChg chg="del">
        <pc:chgData name="Tyler, James Lee" userId="S::jlt104@pitt.edu::a4dafdf2-e930-4d1d-a35d-f2063ce59334" providerId="AD" clId="Web-{4E42895C-F106-41D9-9349-CACEA2A02337}" dt="2024-10-31T18:49:44.015" v="11"/>
        <pc:sldMkLst>
          <pc:docMk/>
          <pc:sldMk cId="4284397979" sldId="258"/>
        </pc:sldMkLst>
      </pc:sldChg>
      <pc:sldChg chg="del">
        <pc:chgData name="Tyler, James Lee" userId="S::jlt104@pitt.edu::a4dafdf2-e930-4d1d-a35d-f2063ce59334" providerId="AD" clId="Web-{4E42895C-F106-41D9-9349-CACEA2A02337}" dt="2024-10-31T18:49:45.734" v="12"/>
        <pc:sldMkLst>
          <pc:docMk/>
          <pc:sldMk cId="3182020418" sldId="259"/>
        </pc:sldMkLst>
      </pc:sldChg>
      <pc:sldChg chg="del">
        <pc:chgData name="Tyler, James Lee" userId="S::jlt104@pitt.edu::a4dafdf2-e930-4d1d-a35d-f2063ce59334" providerId="AD" clId="Web-{4E42895C-F106-41D9-9349-CACEA2A02337}" dt="2024-10-31T18:54:16.783" v="15"/>
        <pc:sldMkLst>
          <pc:docMk/>
          <pc:sldMk cId="4146677553" sldId="271"/>
        </pc:sldMkLst>
      </pc:sldChg>
      <pc:sldChg chg="addSp delSp modSp">
        <pc:chgData name="Tyler, James Lee" userId="S::jlt104@pitt.edu::a4dafdf2-e930-4d1d-a35d-f2063ce59334" providerId="AD" clId="Web-{4E42895C-F106-41D9-9349-CACEA2A02337}" dt="2024-10-31T18:52:23.829" v="13"/>
        <pc:sldMkLst>
          <pc:docMk/>
          <pc:sldMk cId="80328691" sldId="273"/>
        </pc:sldMkLst>
        <pc:spChg chg="mod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2" creationId="{DD7C5D9B-4008-3684-0D1D-950766224372}"/>
          </ac:spMkLst>
        </pc:spChg>
        <pc:spChg chg="del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8" creationId="{907EF6B7-1338-4443-8C46-6A318D952DFD}"/>
          </ac:spMkLst>
        </pc:spChg>
        <pc:spChg chg="del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10" creationId="{DAAE4CDD-124C-4DCF-9584-B6033B545DD5}"/>
          </ac:spMkLst>
        </pc:spChg>
        <pc:spChg chg="del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12" creationId="{081E4A58-353D-44AE-B2FC-2A74E2E400F7}"/>
          </ac:spMkLst>
        </pc:spChg>
        <pc:spChg chg="mod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21" creationId="{06E2950F-17E7-A49F-4D8A-01F35A5D5C19}"/>
          </ac:spMkLst>
        </pc:spChg>
        <pc:spChg chg="add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26" creationId="{100EDD19-6802-4EC3-95CE-CFFAB042CFD6}"/>
          </ac:spMkLst>
        </pc:spChg>
        <pc:spChg chg="add">
          <ac:chgData name="Tyler, James Lee" userId="S::jlt104@pitt.edu::a4dafdf2-e930-4d1d-a35d-f2063ce59334" providerId="AD" clId="Web-{4E42895C-F106-41D9-9349-CACEA2A02337}" dt="2024-10-31T18:52:23.829" v="13"/>
          <ac:spMkLst>
            <pc:docMk/>
            <pc:sldMk cId="80328691" sldId="273"/>
            <ac:spMk id="28" creationId="{DB17E863-922E-4C26-BD64-E8FD41D28661}"/>
          </ac:spMkLst>
        </pc:spChg>
      </pc:sldChg>
      <pc:sldChg chg="del">
        <pc:chgData name="Tyler, James Lee" userId="S::jlt104@pitt.edu::a4dafdf2-e930-4d1d-a35d-f2063ce59334" providerId="AD" clId="Web-{4E42895C-F106-41D9-9349-CACEA2A02337}" dt="2024-10-31T18:49:36.953" v="10"/>
        <pc:sldMkLst>
          <pc:docMk/>
          <pc:sldMk cId="73136686" sldId="274"/>
        </pc:sldMkLst>
      </pc:sldChg>
      <pc:sldChg chg="addSp delSp modSp new mod setBg setClrOvrMap">
        <pc:chgData name="Tyler, James Lee" userId="S::jlt104@pitt.edu::a4dafdf2-e930-4d1d-a35d-f2063ce59334" providerId="AD" clId="Web-{4E42895C-F106-41D9-9349-CACEA2A02337}" dt="2024-10-31T18:49:33.468" v="9"/>
        <pc:sldMkLst>
          <pc:docMk/>
          <pc:sldMk cId="42205055" sldId="278"/>
        </pc:sldMkLst>
        <pc:spChg chg="mod ord">
          <ac:chgData name="Tyler, James Lee" userId="S::jlt104@pitt.edu::a4dafdf2-e930-4d1d-a35d-f2063ce59334" providerId="AD" clId="Web-{4E42895C-F106-41D9-9349-CACEA2A02337}" dt="2024-10-31T18:49:33.468" v="9"/>
          <ac:spMkLst>
            <pc:docMk/>
            <pc:sldMk cId="42205055" sldId="278"/>
            <ac:spMk id="2" creationId="{8C9BCE23-88CC-7ADA-151E-8562282E2FA2}"/>
          </ac:spMkLst>
        </pc:spChg>
        <pc:spChg chg="del">
          <ac:chgData name="Tyler, James Lee" userId="S::jlt104@pitt.edu::a4dafdf2-e930-4d1d-a35d-f2063ce59334" providerId="AD" clId="Web-{4E42895C-F106-41D9-9349-CACEA2A02337}" dt="2024-10-31T18:48:07.155" v="6"/>
          <ac:spMkLst>
            <pc:docMk/>
            <pc:sldMk cId="42205055" sldId="278"/>
            <ac:spMk id="3" creationId="{B45FBA7B-89CE-AA58-EBBB-0847BE912E08}"/>
          </ac:spMkLst>
        </pc:spChg>
        <pc:spChg chg="add del">
          <ac:chgData name="Tyler, James Lee" userId="S::jlt104@pitt.edu::a4dafdf2-e930-4d1d-a35d-f2063ce59334" providerId="AD" clId="Web-{4E42895C-F106-41D9-9349-CACEA2A02337}" dt="2024-10-31T18:49:07.312" v="8"/>
          <ac:spMkLst>
            <pc:docMk/>
            <pc:sldMk cId="42205055" sldId="278"/>
            <ac:spMk id="8" creationId="{671C4B1C-7F94-59EA-0F2C-319582069262}"/>
          </ac:spMkLst>
        </pc:spChg>
        <pc:spChg chg="add del">
          <ac:chgData name="Tyler, James Lee" userId="S::jlt104@pitt.edu::a4dafdf2-e930-4d1d-a35d-f2063ce59334" providerId="AD" clId="Web-{4E42895C-F106-41D9-9349-CACEA2A02337}" dt="2024-10-31T18:49:33.468" v="9"/>
          <ac:spMkLst>
            <pc:docMk/>
            <pc:sldMk cId="42205055" sldId="278"/>
            <ac:spMk id="11" creationId="{C5E6CFF1-2F42-4E10-9A97-F116F46F53FE}"/>
          </ac:spMkLst>
        </pc:spChg>
        <pc:picChg chg="add mod ord">
          <ac:chgData name="Tyler, James Lee" userId="S::jlt104@pitt.edu::a4dafdf2-e930-4d1d-a35d-f2063ce59334" providerId="AD" clId="Web-{4E42895C-F106-41D9-9349-CACEA2A02337}" dt="2024-10-31T18:49:33.468" v="9"/>
          <ac:picMkLst>
            <pc:docMk/>
            <pc:sldMk cId="42205055" sldId="278"/>
            <ac:picMk id="4" creationId="{D8EBAE4F-6300-0FE3-98A6-AF78695539D2}"/>
          </ac:picMkLst>
        </pc:picChg>
        <pc:cxnChg chg="add del">
          <ac:chgData name="Tyler, James Lee" userId="S::jlt104@pitt.edu::a4dafdf2-e930-4d1d-a35d-f2063ce59334" providerId="AD" clId="Web-{4E42895C-F106-41D9-9349-CACEA2A02337}" dt="2024-10-31T18:49:33.468" v="9"/>
          <ac:cxnSpMkLst>
            <pc:docMk/>
            <pc:sldMk cId="42205055" sldId="278"/>
            <ac:cxnSpMk id="13" creationId="{96A8629B-8289-498B-939B-1CA0C106182C}"/>
          </ac:cxnSpMkLst>
        </pc:cxnChg>
      </pc:sldChg>
      <pc:sldChg chg="new">
        <pc:chgData name="Tyler, James Lee" userId="S::jlt104@pitt.edu::a4dafdf2-e930-4d1d-a35d-f2063ce59334" providerId="AD" clId="Web-{4E42895C-F106-41D9-9349-CACEA2A02337}" dt="2024-10-31T18:54:33.799" v="16"/>
        <pc:sldMkLst>
          <pc:docMk/>
          <pc:sldMk cId="3596057425" sldId="279"/>
        </pc:sldMkLst>
      </pc:sldChg>
    </pc:docChg>
  </pc:docChgLst>
  <pc:docChgLst>
    <pc:chgData name="Tyler, James Lee" userId="S::jlt104@pitt.edu::a4dafdf2-e930-4d1d-a35d-f2063ce59334" providerId="AD" clId="Web-{FF89485A-B904-4359-9383-E8F615B45ED2}"/>
    <pc:docChg chg="addSld delSld modSld">
      <pc:chgData name="Tyler, James Lee" userId="S::jlt104@pitt.edu::a4dafdf2-e930-4d1d-a35d-f2063ce59334" providerId="AD" clId="Web-{FF89485A-B904-4359-9383-E8F615B45ED2}" dt="2024-10-31T01:41:06.408" v="12"/>
      <pc:docMkLst>
        <pc:docMk/>
      </pc:docMkLst>
      <pc:sldChg chg="modSp">
        <pc:chgData name="Tyler, James Lee" userId="S::jlt104@pitt.edu::a4dafdf2-e930-4d1d-a35d-f2063ce59334" providerId="AD" clId="Web-{FF89485A-B904-4359-9383-E8F615B45ED2}" dt="2024-10-31T01:33:11.242" v="7"/>
        <pc:sldMkLst>
          <pc:docMk/>
          <pc:sldMk cId="3664168244" sldId="263"/>
        </pc:sldMkLst>
        <pc:spChg chg="mod">
          <ac:chgData name="Tyler, James Lee" userId="S::jlt104@pitt.edu::a4dafdf2-e930-4d1d-a35d-f2063ce59334" providerId="AD" clId="Web-{FF89485A-B904-4359-9383-E8F615B45ED2}" dt="2024-10-31T01:33:11.242" v="7"/>
          <ac:spMkLst>
            <pc:docMk/>
            <pc:sldMk cId="3664168244" sldId="263"/>
            <ac:spMk id="3" creationId="{FE5AA5E8-FE90-A33E-1A67-7108D32F5D30}"/>
          </ac:spMkLst>
        </pc:spChg>
      </pc:sldChg>
      <pc:sldChg chg="addSp delSp modSp new">
        <pc:chgData name="Tyler, James Lee" userId="S::jlt104@pitt.edu::a4dafdf2-e930-4d1d-a35d-f2063ce59334" providerId="AD" clId="Web-{FF89485A-B904-4359-9383-E8F615B45ED2}" dt="2024-10-31T01:41:06.408" v="12"/>
        <pc:sldMkLst>
          <pc:docMk/>
          <pc:sldMk cId="1418522643" sldId="272"/>
        </pc:sldMkLst>
        <pc:spChg chg="add del mod">
          <ac:chgData name="Tyler, James Lee" userId="S::jlt104@pitt.edu::a4dafdf2-e930-4d1d-a35d-f2063ce59334" providerId="AD" clId="Web-{FF89485A-B904-4359-9383-E8F615B45ED2}" dt="2024-10-31T01:41:06.408" v="12"/>
          <ac:spMkLst>
            <pc:docMk/>
            <pc:sldMk cId="1418522643" sldId="272"/>
            <ac:spMk id="2" creationId="{F7BCF636-B256-1154-4E8A-B19889543567}"/>
          </ac:spMkLst>
        </pc:spChg>
      </pc:sldChg>
      <pc:sldChg chg="addSp delSp modSp new del">
        <pc:chgData name="Tyler, James Lee" userId="S::jlt104@pitt.edu::a4dafdf2-e930-4d1d-a35d-f2063ce59334" providerId="AD" clId="Web-{FF89485A-B904-4359-9383-E8F615B45ED2}" dt="2024-10-31T01:32:49.865" v="5"/>
        <pc:sldMkLst>
          <pc:docMk/>
          <pc:sldMk cId="2402027448" sldId="272"/>
        </pc:sldMkLst>
        <pc:spChg chg="add del">
          <ac:chgData name="Tyler, James Lee" userId="S::jlt104@pitt.edu::a4dafdf2-e930-4d1d-a35d-f2063ce59334" providerId="AD" clId="Web-{FF89485A-B904-4359-9383-E8F615B45ED2}" dt="2024-10-31T01:28:01.865" v="2"/>
          <ac:spMkLst>
            <pc:docMk/>
            <pc:sldMk cId="2402027448" sldId="272"/>
            <ac:spMk id="3" creationId="{D3E9F235-C18C-D3F5-ABFC-C553DCC11722}"/>
          </ac:spMkLst>
        </pc:spChg>
        <pc:graphicFrameChg chg="add del mod ord modGraphic">
          <ac:chgData name="Tyler, James Lee" userId="S::jlt104@pitt.edu::a4dafdf2-e930-4d1d-a35d-f2063ce59334" providerId="AD" clId="Web-{FF89485A-B904-4359-9383-E8F615B45ED2}" dt="2024-10-31T01:28:01.865" v="2"/>
          <ac:graphicFrameMkLst>
            <pc:docMk/>
            <pc:sldMk cId="2402027448" sldId="272"/>
            <ac:graphicFrameMk id="4" creationId="{E9A46DB5-8982-00F7-FA08-326666B8AFFB}"/>
          </ac:graphicFrameMkLst>
        </pc:graphicFrameChg>
        <pc:picChg chg="add del mod">
          <ac:chgData name="Tyler, James Lee" userId="S::jlt104@pitt.edu::a4dafdf2-e930-4d1d-a35d-f2063ce59334" providerId="AD" clId="Web-{FF89485A-B904-4359-9383-E8F615B45ED2}" dt="2024-10-31T01:32:47.490" v="4"/>
          <ac:picMkLst>
            <pc:docMk/>
            <pc:sldMk cId="2402027448" sldId="272"/>
            <ac:picMk id="17" creationId="{3460A2D4-BF4A-520D-AF99-04BE2A7D4719}"/>
          </ac:picMkLst>
        </pc:picChg>
      </pc:sldChg>
    </pc:docChg>
  </pc:docChgLst>
  <pc:docChgLst>
    <pc:chgData name="Tyler, James Lee" userId="S::jlt104@pitt.edu::a4dafdf2-e930-4d1d-a35d-f2063ce59334" providerId="AD" clId="Web-{C0937AB1-3E56-4B68-912B-67A0F0409FC8}"/>
    <pc:docChg chg="addSld delSld modSld">
      <pc:chgData name="Tyler, James Lee" userId="S::jlt104@pitt.edu::a4dafdf2-e930-4d1d-a35d-f2063ce59334" providerId="AD" clId="Web-{C0937AB1-3E56-4B68-912B-67A0F0409FC8}" dt="2024-10-31T20:23:21.611" v="21"/>
      <pc:docMkLst>
        <pc:docMk/>
      </pc:docMkLst>
      <pc:sldChg chg="addSp modSp mod setBg">
        <pc:chgData name="Tyler, James Lee" userId="S::jlt104@pitt.edu::a4dafdf2-e930-4d1d-a35d-f2063ce59334" providerId="AD" clId="Web-{C0937AB1-3E56-4B68-912B-67A0F0409FC8}" dt="2024-10-31T20:23:21.611" v="21"/>
        <pc:sldMkLst>
          <pc:docMk/>
          <pc:sldMk cId="2037493239" sldId="276"/>
        </pc:sldMkLst>
        <pc:spChg chg="mo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2" creationId="{5D6A3456-1EC2-15D8-E577-A93A2717B76E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8" creationId="{4D60F200-5EB0-B223-2439-C96C67F0FEE1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10" creationId="{74067CD3-146F-6228-E362-39AA720C25F7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12" creationId="{271C7E5C-A0F8-E9FA-56DB-31A257FD4EDB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14" creationId="{33F70A3C-4474-2A39-470C-FD55A8837503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16" creationId="{BAC3F7D4-9613-0E1F-901C-98FE831DEBC0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18" creationId="{AFD5167C-AF48-26F0-7A9F-3F7643374872}"/>
          </ac:spMkLst>
        </pc:spChg>
        <pc:spChg chg="add">
          <ac:chgData name="Tyler, James Lee" userId="S::jlt104@pitt.edu::a4dafdf2-e930-4d1d-a35d-f2063ce59334" providerId="AD" clId="Web-{C0937AB1-3E56-4B68-912B-67A0F0409FC8}" dt="2024-10-31T20:23:21.611" v="21"/>
          <ac:spMkLst>
            <pc:docMk/>
            <pc:sldMk cId="2037493239" sldId="276"/>
            <ac:spMk id="20" creationId="{87B30A01-FCA8-86A5-A840-C32A3BE2EDD6}"/>
          </ac:spMkLst>
        </pc:spChg>
        <pc:picChg chg="add">
          <ac:chgData name="Tyler, James Lee" userId="S::jlt104@pitt.edu::a4dafdf2-e930-4d1d-a35d-f2063ce59334" providerId="AD" clId="Web-{C0937AB1-3E56-4B68-912B-67A0F0409FC8}" dt="2024-10-31T20:23:21.611" v="21"/>
          <ac:picMkLst>
            <pc:docMk/>
            <pc:sldMk cId="2037493239" sldId="276"/>
            <ac:picMk id="4" creationId="{676A875E-6716-DB2E-90CD-26863F6466E2}"/>
          </ac:picMkLst>
        </pc:picChg>
      </pc:sldChg>
      <pc:sldChg chg="del">
        <pc:chgData name="Tyler, James Lee" userId="S::jlt104@pitt.edu::a4dafdf2-e930-4d1d-a35d-f2063ce59334" providerId="AD" clId="Web-{C0937AB1-3E56-4B68-912B-67A0F0409FC8}" dt="2024-10-31T20:22:54.985" v="20"/>
        <pc:sldMkLst>
          <pc:docMk/>
          <pc:sldMk cId="960407393" sldId="283"/>
        </pc:sldMkLst>
      </pc:sldChg>
      <pc:sldChg chg="del">
        <pc:chgData name="Tyler, James Lee" userId="S::jlt104@pitt.edu::a4dafdf2-e930-4d1d-a35d-f2063ce59334" providerId="AD" clId="Web-{C0937AB1-3E56-4B68-912B-67A0F0409FC8}" dt="2024-10-31T20:21:03.545" v="7"/>
        <pc:sldMkLst>
          <pc:docMk/>
          <pc:sldMk cId="3737289705" sldId="284"/>
        </pc:sldMkLst>
      </pc:sldChg>
      <pc:sldChg chg="del">
        <pc:chgData name="Tyler, James Lee" userId="S::jlt104@pitt.edu::a4dafdf2-e930-4d1d-a35d-f2063ce59334" providerId="AD" clId="Web-{C0937AB1-3E56-4B68-912B-67A0F0409FC8}" dt="2024-10-31T20:19:26.965" v="1"/>
        <pc:sldMkLst>
          <pc:docMk/>
          <pc:sldMk cId="3657086763" sldId="285"/>
        </pc:sldMkLst>
      </pc:sldChg>
      <pc:sldChg chg="addSp delSp modSp mod setBg">
        <pc:chgData name="Tyler, James Lee" userId="S::jlt104@pitt.edu::a4dafdf2-e930-4d1d-a35d-f2063ce59334" providerId="AD" clId="Web-{C0937AB1-3E56-4B68-912B-67A0F0409FC8}" dt="2024-10-31T20:19:19.574" v="0"/>
        <pc:sldMkLst>
          <pc:docMk/>
          <pc:sldMk cId="3845273310" sldId="286"/>
        </pc:sldMkLst>
        <pc:spChg chg="mod">
          <ac:chgData name="Tyler, James Lee" userId="S::jlt104@pitt.edu::a4dafdf2-e930-4d1d-a35d-f2063ce59334" providerId="AD" clId="Web-{C0937AB1-3E56-4B68-912B-67A0F0409FC8}" dt="2024-10-31T20:19:19.574" v="0"/>
          <ac:spMkLst>
            <pc:docMk/>
            <pc:sldMk cId="3845273310" sldId="286"/>
            <ac:spMk id="2" creationId="{4BC080F7-4948-FFF5-8FCB-57241AC6B211}"/>
          </ac:spMkLst>
        </pc:spChg>
        <pc:spChg chg="del">
          <ac:chgData name="Tyler, James Lee" userId="S::jlt104@pitt.edu::a4dafdf2-e930-4d1d-a35d-f2063ce59334" providerId="AD" clId="Web-{C0937AB1-3E56-4B68-912B-67A0F0409FC8}" dt="2024-10-31T20:19:19.574" v="0"/>
          <ac:spMkLst>
            <pc:docMk/>
            <pc:sldMk cId="3845273310" sldId="286"/>
            <ac:spMk id="3" creationId="{239AC435-6026-9AF6-053E-6ADAD50A06DA}"/>
          </ac:spMkLst>
        </pc:spChg>
        <pc:spChg chg="add">
          <ac:chgData name="Tyler, James Lee" userId="S::jlt104@pitt.edu::a4dafdf2-e930-4d1d-a35d-f2063ce59334" providerId="AD" clId="Web-{C0937AB1-3E56-4B68-912B-67A0F0409FC8}" dt="2024-10-31T20:19:19.574" v="0"/>
          <ac:spMkLst>
            <pc:docMk/>
            <pc:sldMk cId="3845273310" sldId="286"/>
            <ac:spMk id="10" creationId="{65219498-D544-41AC-98FE-8F956EF66A62}"/>
          </ac:spMkLst>
        </pc:spChg>
        <pc:spChg chg="add">
          <ac:chgData name="Tyler, James Lee" userId="S::jlt104@pitt.edu::a4dafdf2-e930-4d1d-a35d-f2063ce59334" providerId="AD" clId="Web-{C0937AB1-3E56-4B68-912B-67A0F0409FC8}" dt="2024-10-31T20:19:19.574" v="0"/>
          <ac:spMkLst>
            <pc:docMk/>
            <pc:sldMk cId="3845273310" sldId="286"/>
            <ac:spMk id="12" creationId="{F500DBFC-17A9-4E0A-AEE2-A49F9AEEF0FD}"/>
          </ac:spMkLst>
        </pc:spChg>
        <pc:grpChg chg="add">
          <ac:chgData name="Tyler, James Lee" userId="S::jlt104@pitt.edu::a4dafdf2-e930-4d1d-a35d-f2063ce59334" providerId="AD" clId="Web-{C0937AB1-3E56-4B68-912B-67A0F0409FC8}" dt="2024-10-31T20:19:19.574" v="0"/>
          <ac:grpSpMkLst>
            <pc:docMk/>
            <pc:sldMk cId="3845273310" sldId="286"/>
            <ac:grpSpMk id="14" creationId="{D74613BB-817C-4C4F-8A24-4936F2F064C0}"/>
          </ac:grpSpMkLst>
        </pc:grpChg>
        <pc:picChg chg="add">
          <ac:chgData name="Tyler, James Lee" userId="S::jlt104@pitt.edu::a4dafdf2-e930-4d1d-a35d-f2063ce59334" providerId="AD" clId="Web-{C0937AB1-3E56-4B68-912B-67A0F0409FC8}" dt="2024-10-31T20:19:19.574" v="0"/>
          <ac:picMkLst>
            <pc:docMk/>
            <pc:sldMk cId="3845273310" sldId="286"/>
            <ac:picMk id="7" creationId="{59EDBE83-07C5-7622-0C5B-E7C3FBC70840}"/>
          </ac:picMkLst>
        </pc:picChg>
      </pc:sldChg>
      <pc:sldChg chg="addSp delSp modSp new mod setBg setClrOvrMap">
        <pc:chgData name="Tyler, James Lee" userId="S::jlt104@pitt.edu::a4dafdf2-e930-4d1d-a35d-f2063ce59334" providerId="AD" clId="Web-{C0937AB1-3E56-4B68-912B-67A0F0409FC8}" dt="2024-10-31T20:20:48.466" v="6"/>
        <pc:sldMkLst>
          <pc:docMk/>
          <pc:sldMk cId="2787047106" sldId="287"/>
        </pc:sldMkLst>
        <pc:spChg chg="mod">
          <ac:chgData name="Tyler, James Lee" userId="S::jlt104@pitt.edu::a4dafdf2-e930-4d1d-a35d-f2063ce59334" providerId="AD" clId="Web-{C0937AB1-3E56-4B68-912B-67A0F0409FC8}" dt="2024-10-31T20:20:48.466" v="6"/>
          <ac:spMkLst>
            <pc:docMk/>
            <pc:sldMk cId="2787047106" sldId="287"/>
            <ac:spMk id="2" creationId="{C37D9EAB-9AC6-CFB5-E246-F9F685A61181}"/>
          </ac:spMkLst>
        </pc:spChg>
        <pc:spChg chg="del mod">
          <ac:chgData name="Tyler, James Lee" userId="S::jlt104@pitt.edu::a4dafdf2-e930-4d1d-a35d-f2063ce59334" providerId="AD" clId="Web-{C0937AB1-3E56-4B68-912B-67A0F0409FC8}" dt="2024-10-31T20:20:48.466" v="6"/>
          <ac:spMkLst>
            <pc:docMk/>
            <pc:sldMk cId="2787047106" sldId="287"/>
            <ac:spMk id="3" creationId="{3096D7B3-AEF5-11E5-B5A7-C50CF85FE59D}"/>
          </ac:spMkLst>
        </pc:spChg>
        <pc:spChg chg="add">
          <ac:chgData name="Tyler, James Lee" userId="S::jlt104@pitt.edu::a4dafdf2-e930-4d1d-a35d-f2063ce59334" providerId="AD" clId="Web-{C0937AB1-3E56-4B68-912B-67A0F0409FC8}" dt="2024-10-31T20:20:48.466" v="6"/>
          <ac:spMkLst>
            <pc:docMk/>
            <pc:sldMk cId="2787047106" sldId="287"/>
            <ac:spMk id="10" creationId="{9228552E-C8B1-4A80-8448-0787CE0FC704}"/>
          </ac:spMkLst>
        </pc:spChg>
        <pc:graphicFrameChg chg="add">
          <ac:chgData name="Tyler, James Lee" userId="S::jlt104@pitt.edu::a4dafdf2-e930-4d1d-a35d-f2063ce59334" providerId="AD" clId="Web-{C0937AB1-3E56-4B68-912B-67A0F0409FC8}" dt="2024-10-31T20:20:48.466" v="6"/>
          <ac:graphicFrameMkLst>
            <pc:docMk/>
            <pc:sldMk cId="2787047106" sldId="287"/>
            <ac:graphicFrameMk id="5" creationId="{16A6DFE2-A4CE-17E5-A1EF-DFE5D121FDB8}"/>
          </ac:graphicFrameMkLst>
        </pc:graphicFrameChg>
        <pc:picChg chg="add">
          <ac:chgData name="Tyler, James Lee" userId="S::jlt104@pitt.edu::a4dafdf2-e930-4d1d-a35d-f2063ce59334" providerId="AD" clId="Web-{C0937AB1-3E56-4B68-912B-67A0F0409FC8}" dt="2024-10-31T20:20:48.466" v="6"/>
          <ac:picMkLst>
            <pc:docMk/>
            <pc:sldMk cId="2787047106" sldId="287"/>
            <ac:picMk id="6" creationId="{9A5073AC-E881-DF4E-587A-130CAF37E487}"/>
          </ac:picMkLst>
        </pc:picChg>
      </pc:sldChg>
      <pc:sldChg chg="addSp delSp modSp new mod setBg setClrOvrMap">
        <pc:chgData name="Tyler, James Lee" userId="S::jlt104@pitt.edu::a4dafdf2-e930-4d1d-a35d-f2063ce59334" providerId="AD" clId="Web-{C0937AB1-3E56-4B68-912B-67A0F0409FC8}" dt="2024-10-31T20:22:33.078" v="19"/>
        <pc:sldMkLst>
          <pc:docMk/>
          <pc:sldMk cId="3253341633" sldId="288"/>
        </pc:sldMkLst>
        <pc:spChg chg="mod">
          <ac:chgData name="Tyler, James Lee" userId="S::jlt104@pitt.edu::a4dafdf2-e930-4d1d-a35d-f2063ce59334" providerId="AD" clId="Web-{C0937AB1-3E56-4B68-912B-67A0F0409FC8}" dt="2024-10-31T20:22:33.063" v="18"/>
          <ac:spMkLst>
            <pc:docMk/>
            <pc:sldMk cId="3253341633" sldId="288"/>
            <ac:spMk id="2" creationId="{F1CDE5A4-8866-D2AE-E71F-FA51EC4C6D58}"/>
          </ac:spMkLst>
        </pc:spChg>
        <pc:spChg chg="add del mod">
          <ac:chgData name="Tyler, James Lee" userId="S::jlt104@pitt.edu::a4dafdf2-e930-4d1d-a35d-f2063ce59334" providerId="AD" clId="Web-{C0937AB1-3E56-4B68-912B-67A0F0409FC8}" dt="2024-10-31T20:22:33.078" v="19"/>
          <ac:spMkLst>
            <pc:docMk/>
            <pc:sldMk cId="3253341633" sldId="288"/>
            <ac:spMk id="3" creationId="{BBB87E2A-E278-934B-1754-BA61243F440C}"/>
          </ac:spMkLst>
        </pc:spChg>
        <pc:spChg chg="add del">
          <ac:chgData name="Tyler, James Lee" userId="S::jlt104@pitt.edu::a4dafdf2-e930-4d1d-a35d-f2063ce59334" providerId="AD" clId="Web-{C0937AB1-3E56-4B68-912B-67A0F0409FC8}" dt="2024-10-31T20:22:33.063" v="18"/>
          <ac:spMkLst>
            <pc:docMk/>
            <pc:sldMk cId="3253341633" sldId="288"/>
            <ac:spMk id="10" creationId="{9228552E-C8B1-4A80-8448-0787CE0FC704}"/>
          </ac:spMkLst>
        </pc:spChg>
        <pc:graphicFrameChg chg="add del">
          <ac:chgData name="Tyler, James Lee" userId="S::jlt104@pitt.edu::a4dafdf2-e930-4d1d-a35d-f2063ce59334" providerId="AD" clId="Web-{C0937AB1-3E56-4B68-912B-67A0F0409FC8}" dt="2024-10-31T20:22:33.063" v="18"/>
          <ac:graphicFrameMkLst>
            <pc:docMk/>
            <pc:sldMk cId="3253341633" sldId="288"/>
            <ac:graphicFrameMk id="5" creationId="{0FCCE168-FFD1-9B36-FEA9-C419013396A9}"/>
          </ac:graphicFrameMkLst>
        </pc:graphicFrameChg>
        <pc:graphicFrameChg chg="add">
          <ac:chgData name="Tyler, James Lee" userId="S::jlt104@pitt.edu::a4dafdf2-e930-4d1d-a35d-f2063ce59334" providerId="AD" clId="Web-{C0937AB1-3E56-4B68-912B-67A0F0409FC8}" dt="2024-10-31T20:22:33.078" v="19"/>
          <ac:graphicFrameMkLst>
            <pc:docMk/>
            <pc:sldMk cId="3253341633" sldId="288"/>
            <ac:graphicFrameMk id="12" creationId="{84C5BA18-0217-D164-295F-3D538D987132}"/>
          </ac:graphicFrameMkLst>
        </pc:graphicFrameChg>
        <pc:picChg chg="add del">
          <ac:chgData name="Tyler, James Lee" userId="S::jlt104@pitt.edu::a4dafdf2-e930-4d1d-a35d-f2063ce59334" providerId="AD" clId="Web-{C0937AB1-3E56-4B68-912B-67A0F0409FC8}" dt="2024-10-31T20:22:33.063" v="18"/>
          <ac:picMkLst>
            <pc:docMk/>
            <pc:sldMk cId="3253341633" sldId="288"/>
            <ac:picMk id="6" creationId="{6CA8FEAC-4429-683F-5E54-53473982C8E2}"/>
          </ac:picMkLst>
        </pc:picChg>
      </pc:sldChg>
    </pc:docChg>
  </pc:docChgLst>
  <pc:docChgLst>
    <pc:chgData name="Duara, Namrata" userId="S::nad168@pitt.edu::a1a8e532-d2e5-437d-9376-1ee7bba284b8" providerId="AD" clId="Web-{24F4AC4D-86E6-2EFA-6CCB-2A061D3B29BA}"/>
    <pc:docChg chg="addSld modSld">
      <pc:chgData name="Duara, Namrata" userId="S::nad168@pitt.edu::a1a8e532-d2e5-437d-9376-1ee7bba284b8" providerId="AD" clId="Web-{24F4AC4D-86E6-2EFA-6CCB-2A061D3B29BA}" dt="2024-10-31T04:05:34.530" v="351" actId="1076"/>
      <pc:docMkLst>
        <pc:docMk/>
      </pc:docMkLst>
      <pc:sldChg chg="addSp delSp modSp mod setBg">
        <pc:chgData name="Duara, Namrata" userId="S::nad168@pitt.edu::a1a8e532-d2e5-437d-9376-1ee7bba284b8" providerId="AD" clId="Web-{24F4AC4D-86E6-2EFA-6CCB-2A061D3B29BA}" dt="2024-10-31T03:42:52.401" v="195" actId="1076"/>
        <pc:sldMkLst>
          <pc:docMk/>
          <pc:sldMk cId="3038649835" sldId="260"/>
        </pc:sldMkLst>
        <pc:spChg chg="mod">
          <ac:chgData name="Duara, Namrata" userId="S::nad168@pitt.edu::a1a8e532-d2e5-437d-9376-1ee7bba284b8" providerId="AD" clId="Web-{24F4AC4D-86E6-2EFA-6CCB-2A061D3B29BA}" dt="2024-10-31T03:29:09.734" v="108" actId="1076"/>
          <ac:spMkLst>
            <pc:docMk/>
            <pc:sldMk cId="3038649835" sldId="260"/>
            <ac:spMk id="2" creationId="{52E02D04-06A3-ADE8-8C3C-26D0DC54EE93}"/>
          </ac:spMkLst>
        </pc:spChg>
        <pc:spChg chg="mod">
          <ac:chgData name="Duara, Namrata" userId="S::nad168@pitt.edu::a1a8e532-d2e5-437d-9376-1ee7bba284b8" providerId="AD" clId="Web-{24F4AC4D-86E6-2EFA-6CCB-2A061D3B29BA}" dt="2024-10-31T03:42:52.401" v="195" actId="1076"/>
          <ac:spMkLst>
            <pc:docMk/>
            <pc:sldMk cId="3038649835" sldId="260"/>
            <ac:spMk id="3" creationId="{45135590-5211-D612-7C6D-AAA92EBAFA82}"/>
          </ac:spMkLst>
        </pc:spChg>
        <pc:spChg chg="add del">
          <ac:chgData name="Duara, Namrata" userId="S::nad168@pitt.edu::a1a8e532-d2e5-437d-9376-1ee7bba284b8" providerId="AD" clId="Web-{24F4AC4D-86E6-2EFA-6CCB-2A061D3B29BA}" dt="2024-10-31T03:02:58.448" v="53"/>
          <ac:spMkLst>
            <pc:docMk/>
            <pc:sldMk cId="3038649835" sldId="260"/>
            <ac:spMk id="9" creationId="{7FF47CB7-972F-479F-A36D-9E72D26EC8DA}"/>
          </ac:spMkLst>
        </pc:spChg>
        <pc:spChg chg="add del">
          <ac:chgData name="Duara, Namrata" userId="S::nad168@pitt.edu::a1a8e532-d2e5-437d-9376-1ee7bba284b8" providerId="AD" clId="Web-{24F4AC4D-86E6-2EFA-6CCB-2A061D3B29BA}" dt="2024-10-31T03:02:58.448" v="53"/>
          <ac:spMkLst>
            <pc:docMk/>
            <pc:sldMk cId="3038649835" sldId="260"/>
            <ac:spMk id="11" creationId="{0D153B68-5844-490D-8E67-F616D6D721CA}"/>
          </ac:spMkLst>
        </pc:spChg>
        <pc:spChg chg="add del">
          <ac:chgData name="Duara, Namrata" userId="S::nad168@pitt.edu::a1a8e532-d2e5-437d-9376-1ee7bba284b8" providerId="AD" clId="Web-{24F4AC4D-86E6-2EFA-6CCB-2A061D3B29BA}" dt="2024-10-31T03:02:58.448" v="53"/>
          <ac:spMkLst>
            <pc:docMk/>
            <pc:sldMk cId="3038649835" sldId="260"/>
            <ac:spMk id="13" creationId="{9A0D773F-7A7D-4DBB-9DEA-86BB8B8F4BC8}"/>
          </ac:spMkLst>
        </pc:spChg>
        <pc:spChg chg="add del">
          <ac:chgData name="Duara, Namrata" userId="S::nad168@pitt.edu::a1a8e532-d2e5-437d-9376-1ee7bba284b8" providerId="AD" clId="Web-{24F4AC4D-86E6-2EFA-6CCB-2A061D3B29BA}" dt="2024-10-31T03:03:04.323" v="56"/>
          <ac:spMkLst>
            <pc:docMk/>
            <pc:sldMk cId="3038649835" sldId="260"/>
            <ac:spMk id="15" creationId="{E6995CE5-F890-4ABA-82A2-26507CE8D2A3}"/>
          </ac:spMkLst>
        </pc:spChg>
        <pc:spChg chg="add">
          <ac:chgData name="Duara, Namrata" userId="S::nad168@pitt.edu::a1a8e532-d2e5-437d-9376-1ee7bba284b8" providerId="AD" clId="Web-{24F4AC4D-86E6-2EFA-6CCB-2A061D3B29BA}" dt="2024-10-31T03:02:58.463" v="54"/>
          <ac:spMkLst>
            <pc:docMk/>
            <pc:sldMk cId="3038649835" sldId="260"/>
            <ac:spMk id="16" creationId="{058A14AF-9FB5-4CC7-BA35-E8E85D3EDF0E}"/>
          </ac:spMkLst>
        </pc:spChg>
        <pc:spChg chg="add del">
          <ac:chgData name="Duara, Namrata" userId="S::nad168@pitt.edu::a1a8e532-d2e5-437d-9376-1ee7bba284b8" providerId="AD" clId="Web-{24F4AC4D-86E6-2EFA-6CCB-2A061D3B29BA}" dt="2024-10-31T03:03:02.010" v="55"/>
          <ac:spMkLst>
            <pc:docMk/>
            <pc:sldMk cId="3038649835" sldId="260"/>
            <ac:spMk id="17" creationId="{3A9A4357-BD1D-4622-A4FE-766E6AB8DE84}"/>
          </ac:spMkLst>
        </pc:spChg>
        <pc:spChg chg="add del">
          <ac:chgData name="Duara, Namrata" userId="S::nad168@pitt.edu::a1a8e532-d2e5-437d-9376-1ee7bba284b8" providerId="AD" clId="Web-{24F4AC4D-86E6-2EFA-6CCB-2A061D3B29BA}" dt="2024-10-31T03:03:38.013" v="62"/>
          <ac:spMkLst>
            <pc:docMk/>
            <pc:sldMk cId="3038649835" sldId="260"/>
            <ac:spMk id="18" creationId="{E659831F-0D9A-4C63-9EBB-8435B85A440F}"/>
          </ac:spMkLst>
        </pc:spChg>
        <pc:graphicFrameChg chg="add del mod modGraphic">
          <ac:chgData name="Duara, Namrata" userId="S::nad168@pitt.edu::a1a8e532-d2e5-437d-9376-1ee7bba284b8" providerId="AD" clId="Web-{24F4AC4D-86E6-2EFA-6CCB-2A061D3B29BA}" dt="2024-10-31T03:34:29.242" v="141"/>
          <ac:graphicFrameMkLst>
            <pc:docMk/>
            <pc:sldMk cId="3038649835" sldId="260"/>
            <ac:graphicFrameMk id="10" creationId="{D607827E-DE72-C162-B0F8-DEB174D0B5C3}"/>
          </ac:graphicFrameMkLst>
        </pc:graphicFrameChg>
        <pc:graphicFrameChg chg="add del mod modGraphic">
          <ac:chgData name="Duara, Namrata" userId="S::nad168@pitt.edu::a1a8e532-d2e5-437d-9376-1ee7bba284b8" providerId="AD" clId="Web-{24F4AC4D-86E6-2EFA-6CCB-2A061D3B29BA}" dt="2024-10-31T03:34:51.852" v="145"/>
          <ac:graphicFrameMkLst>
            <pc:docMk/>
            <pc:sldMk cId="3038649835" sldId="260"/>
            <ac:graphicFrameMk id="14" creationId="{266A1972-7966-2759-F602-0E96D513B2B1}"/>
          </ac:graphicFrameMkLst>
        </pc:graphicFrameChg>
        <pc:graphicFrameChg chg="add mod modGraphic">
          <ac:chgData name="Duara, Namrata" userId="S::nad168@pitt.edu::a1a8e532-d2e5-437d-9376-1ee7bba284b8" providerId="AD" clId="Web-{24F4AC4D-86E6-2EFA-6CCB-2A061D3B29BA}" dt="2024-10-31T03:42:46.135" v="194" actId="1076"/>
          <ac:graphicFrameMkLst>
            <pc:docMk/>
            <pc:sldMk cId="3038649835" sldId="260"/>
            <ac:graphicFrameMk id="20" creationId="{C9890E6B-CA8F-8FDD-9E08-4A77BCC0ADE0}"/>
          </ac:graphicFrameMkLst>
        </pc:graphicFrameChg>
        <pc:picChg chg="add del mod">
          <ac:chgData name="Duara, Namrata" userId="S::nad168@pitt.edu::a1a8e532-d2e5-437d-9376-1ee7bba284b8" providerId="AD" clId="Web-{24F4AC4D-86E6-2EFA-6CCB-2A061D3B29BA}" dt="2024-10-31T03:09:24.236" v="83"/>
          <ac:picMkLst>
            <pc:docMk/>
            <pc:sldMk cId="3038649835" sldId="260"/>
            <ac:picMk id="4" creationId="{FC8DEAE6-A5DD-A7D8-A8FD-CFC254D958A2}"/>
          </ac:picMkLst>
        </pc:picChg>
        <pc:picChg chg="add del mod">
          <ac:chgData name="Duara, Namrata" userId="S::nad168@pitt.edu::a1a8e532-d2e5-437d-9376-1ee7bba284b8" providerId="AD" clId="Web-{24F4AC4D-86E6-2EFA-6CCB-2A061D3B29BA}" dt="2024-10-31T03:21:21.466" v="95"/>
          <ac:picMkLst>
            <pc:docMk/>
            <pc:sldMk cId="3038649835" sldId="260"/>
            <ac:picMk id="5" creationId="{FD6E4EED-DEF6-58DD-B089-BDFEABE2B472}"/>
          </ac:picMkLst>
        </pc:picChg>
        <pc:picChg chg="add del mod">
          <ac:chgData name="Duara, Namrata" userId="S::nad168@pitt.edu::a1a8e532-d2e5-437d-9376-1ee7bba284b8" providerId="AD" clId="Web-{24F4AC4D-86E6-2EFA-6CCB-2A061D3B29BA}" dt="2024-10-31T03:22:30.189" v="96"/>
          <ac:picMkLst>
            <pc:docMk/>
            <pc:sldMk cId="3038649835" sldId="260"/>
            <ac:picMk id="6" creationId="{F5310131-4838-5C5C-D4CB-B6DB2C0FFC53}"/>
          </ac:picMkLst>
        </pc:picChg>
        <pc:picChg chg="add mod">
          <ac:chgData name="Duara, Namrata" userId="S::nad168@pitt.edu::a1a8e532-d2e5-437d-9376-1ee7bba284b8" providerId="AD" clId="Web-{24F4AC4D-86E6-2EFA-6CCB-2A061D3B29BA}" dt="2024-10-31T03:42:40.807" v="193" actId="1076"/>
          <ac:picMkLst>
            <pc:docMk/>
            <pc:sldMk cId="3038649835" sldId="260"/>
            <ac:picMk id="7" creationId="{1CA653FE-63B8-C8CB-5681-3D73B533450A}"/>
          </ac:picMkLst>
        </pc:picChg>
      </pc:sldChg>
      <pc:sldChg chg="modSp">
        <pc:chgData name="Duara, Namrata" userId="S::nad168@pitt.edu::a1a8e532-d2e5-437d-9376-1ee7bba284b8" providerId="AD" clId="Web-{24F4AC4D-86E6-2EFA-6CCB-2A061D3B29BA}" dt="2024-10-31T04:04:34.996" v="342" actId="20577"/>
        <pc:sldMkLst>
          <pc:docMk/>
          <pc:sldMk cId="1151129951" sldId="265"/>
        </pc:sldMkLst>
        <pc:spChg chg="mod">
          <ac:chgData name="Duara, Namrata" userId="S::nad168@pitt.edu::a1a8e532-d2e5-437d-9376-1ee7bba284b8" providerId="AD" clId="Web-{24F4AC4D-86E6-2EFA-6CCB-2A061D3B29BA}" dt="2024-10-31T04:00:27.402" v="277" actId="1076"/>
          <ac:spMkLst>
            <pc:docMk/>
            <pc:sldMk cId="1151129951" sldId="265"/>
            <ac:spMk id="2" creationId="{9DE31AF8-6B8A-08BD-289C-7E7CF37BE3DE}"/>
          </ac:spMkLst>
        </pc:spChg>
        <pc:spChg chg="mod">
          <ac:chgData name="Duara, Namrata" userId="S::nad168@pitt.edu::a1a8e532-d2e5-437d-9376-1ee7bba284b8" providerId="AD" clId="Web-{24F4AC4D-86E6-2EFA-6CCB-2A061D3B29BA}" dt="2024-10-31T04:04:34.996" v="342" actId="20577"/>
          <ac:spMkLst>
            <pc:docMk/>
            <pc:sldMk cId="1151129951" sldId="265"/>
            <ac:spMk id="3" creationId="{EE528631-C5F2-2621-1594-485B90533E31}"/>
          </ac:spMkLst>
        </pc:spChg>
      </pc:sldChg>
      <pc:sldChg chg="addSp delSp modSp">
        <pc:chgData name="Duara, Namrata" userId="S::nad168@pitt.edu::a1a8e532-d2e5-437d-9376-1ee7bba284b8" providerId="AD" clId="Web-{24F4AC4D-86E6-2EFA-6CCB-2A061D3B29BA}" dt="2024-10-31T03:51:58.481" v="224" actId="20577"/>
        <pc:sldMkLst>
          <pc:docMk/>
          <pc:sldMk cId="3976716070" sldId="266"/>
        </pc:sldMkLst>
        <pc:spChg chg="mod">
          <ac:chgData name="Duara, Namrata" userId="S::nad168@pitt.edu::a1a8e532-d2e5-437d-9376-1ee7bba284b8" providerId="AD" clId="Web-{24F4AC4D-86E6-2EFA-6CCB-2A061D3B29BA}" dt="2024-10-31T03:32:32.031" v="134" actId="1076"/>
          <ac:spMkLst>
            <pc:docMk/>
            <pc:sldMk cId="3976716070" sldId="266"/>
            <ac:spMk id="2" creationId="{B61CD047-6889-20DD-27E0-00EDB98577FB}"/>
          </ac:spMkLst>
        </pc:spChg>
        <pc:spChg chg="add del mod">
          <ac:chgData name="Duara, Namrata" userId="S::nad168@pitt.edu::a1a8e532-d2e5-437d-9376-1ee7bba284b8" providerId="AD" clId="Web-{24F4AC4D-86E6-2EFA-6CCB-2A061D3B29BA}" dt="2024-10-31T03:51:58.481" v="224" actId="20577"/>
          <ac:spMkLst>
            <pc:docMk/>
            <pc:sldMk cId="3976716070" sldId="266"/>
            <ac:spMk id="3" creationId="{1833C224-ACC4-6D3C-18CF-593D383800AB}"/>
          </ac:spMkLst>
        </pc:spChg>
        <pc:spChg chg="add del mod">
          <ac:chgData name="Duara, Namrata" userId="S::nad168@pitt.edu::a1a8e532-d2e5-437d-9376-1ee7bba284b8" providerId="AD" clId="Web-{24F4AC4D-86E6-2EFA-6CCB-2A061D3B29BA}" dt="2024-10-31T02:59:36.748" v="43"/>
          <ac:spMkLst>
            <pc:docMk/>
            <pc:sldMk cId="3976716070" sldId="266"/>
            <ac:spMk id="7" creationId="{CB382A48-CF71-D3E8-B217-158FC9F50315}"/>
          </ac:spMkLst>
        </pc:spChg>
        <pc:graphicFrameChg chg="add">
          <ac:chgData name="Duara, Namrata" userId="S::nad168@pitt.edu::a1a8e532-d2e5-437d-9376-1ee7bba284b8" providerId="AD" clId="Web-{24F4AC4D-86E6-2EFA-6CCB-2A061D3B29BA}" dt="2024-10-31T03:44:58.565" v="223"/>
          <ac:graphicFrameMkLst>
            <pc:docMk/>
            <pc:sldMk cId="3976716070" sldId="266"/>
            <ac:graphicFrameMk id="10" creationId="{683F0CF8-966D-9BEA-4AFC-FF5898E0FCDC}"/>
          </ac:graphicFrameMkLst>
        </pc:graphicFrameChg>
        <pc:picChg chg="add del mod ord">
          <ac:chgData name="Duara, Namrata" userId="S::nad168@pitt.edu::a1a8e532-d2e5-437d-9376-1ee7bba284b8" providerId="AD" clId="Web-{24F4AC4D-86E6-2EFA-6CCB-2A061D3B29BA}" dt="2024-10-31T02:59:41.077" v="46"/>
          <ac:picMkLst>
            <pc:docMk/>
            <pc:sldMk cId="3976716070" sldId="266"/>
            <ac:picMk id="4" creationId="{53D291FA-EA8A-FC8D-E998-73DA074DFC6D}"/>
          </ac:picMkLst>
        </pc:picChg>
        <pc:picChg chg="add del mod">
          <ac:chgData name="Duara, Namrata" userId="S::nad168@pitt.edu::a1a8e532-d2e5-437d-9376-1ee7bba284b8" providerId="AD" clId="Web-{24F4AC4D-86E6-2EFA-6CCB-2A061D3B29BA}" dt="2024-10-31T02:59:39.498" v="45"/>
          <ac:picMkLst>
            <pc:docMk/>
            <pc:sldMk cId="3976716070" sldId="266"/>
            <ac:picMk id="5" creationId="{CAE2CEC7-717B-D98A-2AA1-A14CF6262448}"/>
          </ac:picMkLst>
        </pc:picChg>
        <pc:picChg chg="add mod">
          <ac:chgData name="Duara, Namrata" userId="S::nad168@pitt.edu::a1a8e532-d2e5-437d-9376-1ee7bba284b8" providerId="AD" clId="Web-{24F4AC4D-86E6-2EFA-6CCB-2A061D3B29BA}" dt="2024-10-31T03:42:57.230" v="196" actId="1076"/>
          <ac:picMkLst>
            <pc:docMk/>
            <pc:sldMk cId="3976716070" sldId="266"/>
            <ac:picMk id="8" creationId="{E2FE8EEC-B389-8FDA-F54D-1B1B51653020}"/>
          </ac:picMkLst>
        </pc:picChg>
      </pc:sldChg>
      <pc:sldChg chg="delSp modSp new">
        <pc:chgData name="Duara, Namrata" userId="S::nad168@pitt.edu::a1a8e532-d2e5-437d-9376-1ee7bba284b8" providerId="AD" clId="Web-{24F4AC4D-86E6-2EFA-6CCB-2A061D3B29BA}" dt="2024-10-31T04:05:34.530" v="351" actId="1076"/>
        <pc:sldMkLst>
          <pc:docMk/>
          <pc:sldMk cId="2037493239" sldId="276"/>
        </pc:sldMkLst>
        <pc:spChg chg="mod">
          <ac:chgData name="Duara, Namrata" userId="S::nad168@pitt.edu::a1a8e532-d2e5-437d-9376-1ee7bba284b8" providerId="AD" clId="Web-{24F4AC4D-86E6-2EFA-6CCB-2A061D3B29BA}" dt="2024-10-31T04:05:34.530" v="351" actId="1076"/>
          <ac:spMkLst>
            <pc:docMk/>
            <pc:sldMk cId="2037493239" sldId="276"/>
            <ac:spMk id="2" creationId="{5D6A3456-1EC2-15D8-E577-A93A2717B76E}"/>
          </ac:spMkLst>
        </pc:spChg>
        <pc:spChg chg="del">
          <ac:chgData name="Duara, Namrata" userId="S::nad168@pitt.edu::a1a8e532-d2e5-437d-9376-1ee7bba284b8" providerId="AD" clId="Web-{24F4AC4D-86E6-2EFA-6CCB-2A061D3B29BA}" dt="2024-10-31T04:05:26.733" v="344"/>
          <ac:spMkLst>
            <pc:docMk/>
            <pc:sldMk cId="2037493239" sldId="276"/>
            <ac:spMk id="3" creationId="{20BD8E21-888F-D66F-0485-67F73B4675CD}"/>
          </ac:spMkLst>
        </pc:spChg>
      </pc:sldChg>
    </pc:docChg>
  </pc:docChgLst>
  <pc:docChgLst>
    <pc:chgData name="Duara, Namrata" userId="S::nad168@pitt.edu::a1a8e532-d2e5-437d-9376-1ee7bba284b8" providerId="AD" clId="Web-{B1D75B85-A201-2874-C523-E2DFF3C50035}"/>
    <pc:docChg chg="modSld">
      <pc:chgData name="Duara, Namrata" userId="S::nad168@pitt.edu::a1a8e532-d2e5-437d-9376-1ee7bba284b8" providerId="AD" clId="Web-{B1D75B85-A201-2874-C523-E2DFF3C50035}" dt="2024-10-30T21:06:37.893" v="58" actId="20577"/>
      <pc:docMkLst>
        <pc:docMk/>
      </pc:docMkLst>
      <pc:sldChg chg="modSp">
        <pc:chgData name="Duara, Namrata" userId="S::nad168@pitt.edu::a1a8e532-d2e5-437d-9376-1ee7bba284b8" providerId="AD" clId="Web-{B1D75B85-A201-2874-C523-E2DFF3C50035}" dt="2024-10-30T21:06:37.893" v="58" actId="20577"/>
        <pc:sldMkLst>
          <pc:docMk/>
          <pc:sldMk cId="3038649835" sldId="260"/>
        </pc:sldMkLst>
        <pc:spChg chg="mod">
          <ac:chgData name="Duara, Namrata" userId="S::nad168@pitt.edu::a1a8e532-d2e5-437d-9376-1ee7bba284b8" providerId="AD" clId="Web-{B1D75B85-A201-2874-C523-E2DFF3C50035}" dt="2024-10-30T21:06:37.893" v="58" actId="20577"/>
          <ac:spMkLst>
            <pc:docMk/>
            <pc:sldMk cId="3038649835" sldId="260"/>
            <ac:spMk id="3" creationId="{45135590-5211-D612-7C6D-AAA92EBAFA82}"/>
          </ac:spMkLst>
        </pc:spChg>
      </pc:sldChg>
      <pc:sldChg chg="modSp">
        <pc:chgData name="Duara, Namrata" userId="S::nad168@pitt.edu::a1a8e532-d2e5-437d-9376-1ee7bba284b8" providerId="AD" clId="Web-{B1D75B85-A201-2874-C523-E2DFF3C50035}" dt="2024-10-30T21:06:01.689" v="8" actId="20577"/>
        <pc:sldMkLst>
          <pc:docMk/>
          <pc:sldMk cId="3976716070" sldId="266"/>
        </pc:sldMkLst>
        <pc:spChg chg="mod">
          <ac:chgData name="Duara, Namrata" userId="S::nad168@pitt.edu::a1a8e532-d2e5-437d-9376-1ee7bba284b8" providerId="AD" clId="Web-{B1D75B85-A201-2874-C523-E2DFF3C50035}" dt="2024-10-30T21:06:01.689" v="8" actId="20577"/>
          <ac:spMkLst>
            <pc:docMk/>
            <pc:sldMk cId="3976716070" sldId="266"/>
            <ac:spMk id="2" creationId="{B61CD047-6889-20DD-27E0-00EDB98577FB}"/>
          </ac:spMkLst>
        </pc:spChg>
      </pc:sldChg>
    </pc:docChg>
  </pc:docChgLst>
  <pc:docChgLst>
    <pc:chgData name="Tyler, James Lee" userId="S::jlt104@pitt.edu::a4dafdf2-e930-4d1d-a35d-f2063ce59334" providerId="AD" clId="Web-{2A1924AE-8712-4490-906C-09FE4DFA74EC}"/>
    <pc:docChg chg="addSld modSld sldOrd">
      <pc:chgData name="Tyler, James Lee" userId="S::jlt104@pitt.edu::a4dafdf2-e930-4d1d-a35d-f2063ce59334" providerId="AD" clId="Web-{2A1924AE-8712-4490-906C-09FE4DFA74EC}" dt="2024-10-30T22:05:25.521" v="53" actId="20577"/>
      <pc:docMkLst>
        <pc:docMk/>
      </pc:docMkLst>
      <pc:sldChg chg="addSp delSp modSp new ord">
        <pc:chgData name="Tyler, James Lee" userId="S::jlt104@pitt.edu::a4dafdf2-e930-4d1d-a35d-f2063ce59334" providerId="AD" clId="Web-{2A1924AE-8712-4490-906C-09FE4DFA74EC}" dt="2024-10-30T22:05:25.521" v="53" actId="20577"/>
        <pc:sldMkLst>
          <pc:docMk/>
          <pc:sldMk cId="4182797014" sldId="267"/>
        </pc:sldMkLst>
        <pc:spChg chg="mod">
          <ac:chgData name="Tyler, James Lee" userId="S::jlt104@pitt.edu::a4dafdf2-e930-4d1d-a35d-f2063ce59334" providerId="AD" clId="Web-{2A1924AE-8712-4490-906C-09FE4DFA74EC}" dt="2024-10-30T22:05:25.521" v="53" actId="20577"/>
          <ac:spMkLst>
            <pc:docMk/>
            <pc:sldMk cId="4182797014" sldId="267"/>
            <ac:spMk id="2" creationId="{CCA0887B-0001-8D83-010F-052BACF116FB}"/>
          </ac:spMkLst>
        </pc:spChg>
      </pc:sldChg>
      <pc:sldChg chg="addSp delSp modSp new">
        <pc:chgData name="Tyler, James Lee" userId="S::jlt104@pitt.edu::a4dafdf2-e930-4d1d-a35d-f2063ce59334" providerId="AD" clId="Web-{2A1924AE-8712-4490-906C-09FE4DFA74EC}" dt="2024-10-30T22:03:54.287" v="48" actId="20577"/>
        <pc:sldMkLst>
          <pc:docMk/>
          <pc:sldMk cId="1729362791" sldId="268"/>
        </pc:sldMkLst>
        <pc:spChg chg="mod">
          <ac:chgData name="Tyler, James Lee" userId="S::jlt104@pitt.edu::a4dafdf2-e930-4d1d-a35d-f2063ce59334" providerId="AD" clId="Web-{2A1924AE-8712-4490-906C-09FE4DFA74EC}" dt="2024-10-30T22:03:54.287" v="48" actId="20577"/>
          <ac:spMkLst>
            <pc:docMk/>
            <pc:sldMk cId="1729362791" sldId="268"/>
            <ac:spMk id="2" creationId="{F9704473-C3A4-374D-8A96-5F83D9576CDF}"/>
          </ac:spMkLst>
        </pc:spChg>
        <pc:picChg chg="add mod ord">
          <ac:chgData name="Tyler, James Lee" userId="S::jlt104@pitt.edu::a4dafdf2-e930-4d1d-a35d-f2063ce59334" providerId="AD" clId="Web-{2A1924AE-8712-4490-906C-09FE4DFA74EC}" dt="2024-10-30T21:53:43.101" v="39"/>
          <ac:picMkLst>
            <pc:docMk/>
            <pc:sldMk cId="1729362791" sldId="268"/>
            <ac:picMk id="11" creationId="{2D4BF487-4DBA-67AE-64CC-C83DA91F8EB4}"/>
          </ac:picMkLst>
        </pc:picChg>
        <pc:picChg chg="add mod ord">
          <ac:chgData name="Tyler, James Lee" userId="S::jlt104@pitt.edu::a4dafdf2-e930-4d1d-a35d-f2063ce59334" providerId="AD" clId="Web-{2A1924AE-8712-4490-906C-09FE4DFA74EC}" dt="2024-10-30T21:58:17.460" v="40"/>
          <ac:picMkLst>
            <pc:docMk/>
            <pc:sldMk cId="1729362791" sldId="268"/>
            <ac:picMk id="12" creationId="{6A3D1996-FC12-9632-D6C5-AE00415D8251}"/>
          </ac:picMkLst>
        </pc:picChg>
        <pc:picChg chg="add mod">
          <ac:chgData name="Tyler, James Lee" userId="S::jlt104@pitt.edu::a4dafdf2-e930-4d1d-a35d-f2063ce59334" providerId="AD" clId="Web-{2A1924AE-8712-4490-906C-09FE4DFA74EC}" dt="2024-10-30T22:01:05.193" v="45"/>
          <ac:picMkLst>
            <pc:docMk/>
            <pc:sldMk cId="1729362791" sldId="268"/>
            <ac:picMk id="14" creationId="{0D30EA65-BA17-D2E7-EC2C-A394B4D06EA1}"/>
          </ac:picMkLst>
        </pc:picChg>
        <pc:picChg chg="add mod">
          <ac:chgData name="Tyler, James Lee" userId="S::jlt104@pitt.edu::a4dafdf2-e930-4d1d-a35d-f2063ce59334" providerId="AD" clId="Web-{2A1924AE-8712-4490-906C-09FE4DFA74EC}" dt="2024-10-30T22:01:21.084" v="47"/>
          <ac:picMkLst>
            <pc:docMk/>
            <pc:sldMk cId="1729362791" sldId="268"/>
            <ac:picMk id="16" creationId="{50D80A5C-E65F-580F-C724-ECC887866FB5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4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6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12.svg"/><Relationship Id="rId1" Type="http://schemas.openxmlformats.org/officeDocument/2006/relationships/image" Target="../media/image2.png"/><Relationship Id="rId6" Type="http://schemas.openxmlformats.org/officeDocument/2006/relationships/image" Target="../media/image14.svg"/><Relationship Id="rId5" Type="http://schemas.openxmlformats.org/officeDocument/2006/relationships/image" Target="../media/image5.png"/><Relationship Id="rId4" Type="http://schemas.openxmlformats.org/officeDocument/2006/relationships/image" Target="../media/image13.sv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21.svg"/><Relationship Id="rId1" Type="http://schemas.openxmlformats.org/officeDocument/2006/relationships/image" Target="../media/image11.png"/><Relationship Id="rId6" Type="http://schemas.openxmlformats.org/officeDocument/2006/relationships/image" Target="../media/image25.svg"/><Relationship Id="rId5" Type="http://schemas.openxmlformats.org/officeDocument/2006/relationships/image" Target="../media/image13.png"/><Relationship Id="rId4" Type="http://schemas.openxmlformats.org/officeDocument/2006/relationships/image" Target="../media/image23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image" Target="../media/image29.svg"/><Relationship Id="rId1" Type="http://schemas.openxmlformats.org/officeDocument/2006/relationships/image" Target="../media/image15.png"/><Relationship Id="rId6" Type="http://schemas.openxmlformats.org/officeDocument/2006/relationships/image" Target="../media/image33.svg"/><Relationship Id="rId5" Type="http://schemas.openxmlformats.org/officeDocument/2006/relationships/image" Target="../media/image17.png"/><Relationship Id="rId4" Type="http://schemas.openxmlformats.org/officeDocument/2006/relationships/image" Target="../media/image31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8.svg"/><Relationship Id="rId1" Type="http://schemas.openxmlformats.org/officeDocument/2006/relationships/image" Target="../media/image21.png"/><Relationship Id="rId4" Type="http://schemas.openxmlformats.org/officeDocument/2006/relationships/image" Target="../media/image40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1.png"/><Relationship Id="rId4" Type="http://schemas.openxmlformats.org/officeDocument/2006/relationships/image" Target="../media/image41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47.svg"/><Relationship Id="rId1" Type="http://schemas.openxmlformats.org/officeDocument/2006/relationships/image" Target="../media/image27.png"/><Relationship Id="rId6" Type="http://schemas.openxmlformats.org/officeDocument/2006/relationships/image" Target="../media/image51.svg"/><Relationship Id="rId5" Type="http://schemas.openxmlformats.org/officeDocument/2006/relationships/image" Target="../media/image29.png"/><Relationship Id="rId10" Type="http://schemas.openxmlformats.org/officeDocument/2006/relationships/image" Target="../media/image55.svg"/><Relationship Id="rId4" Type="http://schemas.openxmlformats.org/officeDocument/2006/relationships/image" Target="../media/image49.svg"/><Relationship Id="rId9" Type="http://schemas.openxmlformats.org/officeDocument/2006/relationships/image" Target="../media/image31.pn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8.svg"/><Relationship Id="rId1" Type="http://schemas.openxmlformats.org/officeDocument/2006/relationships/image" Target="../media/image33.png"/><Relationship Id="rId6" Type="http://schemas.openxmlformats.org/officeDocument/2006/relationships/image" Target="../media/image62.svg"/><Relationship Id="rId5" Type="http://schemas.openxmlformats.org/officeDocument/2006/relationships/image" Target="../media/image35.png"/><Relationship Id="rId4" Type="http://schemas.openxmlformats.org/officeDocument/2006/relationships/image" Target="../media/image60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4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12.svg"/><Relationship Id="rId1" Type="http://schemas.openxmlformats.org/officeDocument/2006/relationships/image" Target="../media/image2.png"/><Relationship Id="rId6" Type="http://schemas.openxmlformats.org/officeDocument/2006/relationships/image" Target="../media/image14.svg"/><Relationship Id="rId5" Type="http://schemas.openxmlformats.org/officeDocument/2006/relationships/image" Target="../media/image5.png"/><Relationship Id="rId4" Type="http://schemas.openxmlformats.org/officeDocument/2006/relationships/image" Target="../media/image13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21.svg"/><Relationship Id="rId1" Type="http://schemas.openxmlformats.org/officeDocument/2006/relationships/image" Target="../media/image11.png"/><Relationship Id="rId6" Type="http://schemas.openxmlformats.org/officeDocument/2006/relationships/image" Target="../media/image25.svg"/><Relationship Id="rId5" Type="http://schemas.openxmlformats.org/officeDocument/2006/relationships/image" Target="../media/image13.png"/><Relationship Id="rId4" Type="http://schemas.openxmlformats.org/officeDocument/2006/relationships/image" Target="../media/image23.sv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image" Target="../media/image29.svg"/><Relationship Id="rId1" Type="http://schemas.openxmlformats.org/officeDocument/2006/relationships/image" Target="../media/image15.png"/><Relationship Id="rId6" Type="http://schemas.openxmlformats.org/officeDocument/2006/relationships/image" Target="../media/image33.svg"/><Relationship Id="rId5" Type="http://schemas.openxmlformats.org/officeDocument/2006/relationships/image" Target="../media/image17.png"/><Relationship Id="rId4" Type="http://schemas.openxmlformats.org/officeDocument/2006/relationships/image" Target="../media/image31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8.svg"/><Relationship Id="rId1" Type="http://schemas.openxmlformats.org/officeDocument/2006/relationships/image" Target="../media/image21.png"/><Relationship Id="rId4" Type="http://schemas.openxmlformats.org/officeDocument/2006/relationships/image" Target="../media/image40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1.png"/><Relationship Id="rId4" Type="http://schemas.openxmlformats.org/officeDocument/2006/relationships/image" Target="../media/image41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47.svg"/><Relationship Id="rId1" Type="http://schemas.openxmlformats.org/officeDocument/2006/relationships/image" Target="../media/image27.png"/><Relationship Id="rId6" Type="http://schemas.openxmlformats.org/officeDocument/2006/relationships/image" Target="../media/image51.svg"/><Relationship Id="rId5" Type="http://schemas.openxmlformats.org/officeDocument/2006/relationships/image" Target="../media/image29.png"/><Relationship Id="rId10" Type="http://schemas.openxmlformats.org/officeDocument/2006/relationships/image" Target="../media/image55.svg"/><Relationship Id="rId4" Type="http://schemas.openxmlformats.org/officeDocument/2006/relationships/image" Target="../media/image49.svg"/><Relationship Id="rId9" Type="http://schemas.openxmlformats.org/officeDocument/2006/relationships/image" Target="../media/image31.pn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8.svg"/><Relationship Id="rId1" Type="http://schemas.openxmlformats.org/officeDocument/2006/relationships/image" Target="../media/image33.png"/><Relationship Id="rId6" Type="http://schemas.openxmlformats.org/officeDocument/2006/relationships/image" Target="../media/image62.svg"/><Relationship Id="rId5" Type="http://schemas.openxmlformats.org/officeDocument/2006/relationships/image" Target="../media/image35.png"/><Relationship Id="rId4" Type="http://schemas.openxmlformats.org/officeDocument/2006/relationships/image" Target="../media/image6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2">
        <a:alpha val="0"/>
      </a:schemeClr>
    </dgm:fillClrLst>
    <dgm:linClrLst meth="repeat">
      <a:schemeClr val="accent2">
        <a:alpha val="0"/>
      </a:schemeClr>
    </dgm:linClrLst>
    <dgm:effectClrLst/>
    <dgm:txLinClrLst/>
    <dgm:txFillClrLst meth="repeat">
      <a:schemeClr val="accent2"/>
      <a:schemeClr val="accent3"/>
      <a:schemeClr val="accent4"/>
      <a:schemeClr val="accent5"/>
      <a:schemeClr val="accent6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5459EE-0A70-4FC2-B4E6-4D95E7E22866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72CBDEA7-48B0-4CA3-BA14-FD4E308BF934}">
      <dgm:prSet/>
      <dgm:spPr/>
      <dgm:t>
        <a:bodyPr/>
        <a:lstStyle/>
        <a:p>
          <a:r>
            <a:rPr lang="en-US"/>
            <a:t>Market Demand Analysis of regional trends, customer preferences, and purchasing decisions</a:t>
          </a:r>
        </a:p>
      </dgm:t>
    </dgm:pt>
    <dgm:pt modelId="{B92B1284-C86C-4F1A-B2FE-597A3A6E880E}" type="parTrans" cxnId="{B298E1B0-8FBE-4CD1-BF95-C2622A0F6106}">
      <dgm:prSet/>
      <dgm:spPr/>
      <dgm:t>
        <a:bodyPr/>
        <a:lstStyle/>
        <a:p>
          <a:endParaRPr lang="en-US"/>
        </a:p>
      </dgm:t>
    </dgm:pt>
    <dgm:pt modelId="{2A119814-8171-4B87-9A5C-2F13A64A5F3A}" type="sibTrans" cxnId="{B298E1B0-8FBE-4CD1-BF95-C2622A0F6106}">
      <dgm:prSet/>
      <dgm:spPr/>
      <dgm:t>
        <a:bodyPr/>
        <a:lstStyle/>
        <a:p>
          <a:endParaRPr lang="en-US"/>
        </a:p>
      </dgm:t>
    </dgm:pt>
    <dgm:pt modelId="{61033D5E-0812-4C6A-877C-8993F86D5F5F}">
      <dgm:prSet/>
      <dgm:spPr/>
      <dgm:t>
        <a:bodyPr/>
        <a:lstStyle/>
        <a:p>
          <a:r>
            <a:rPr lang="en-US"/>
            <a:t>Identifying customer pain points and gaps amongst DMI and its competitors</a:t>
          </a:r>
        </a:p>
      </dgm:t>
    </dgm:pt>
    <dgm:pt modelId="{1FB15B6A-0D46-435B-BA37-9915BCEABE00}" type="parTrans" cxnId="{2EC3D335-DB6D-4201-B5C3-FB37C420F631}">
      <dgm:prSet/>
      <dgm:spPr/>
      <dgm:t>
        <a:bodyPr/>
        <a:lstStyle/>
        <a:p>
          <a:endParaRPr lang="en-US"/>
        </a:p>
      </dgm:t>
    </dgm:pt>
    <dgm:pt modelId="{B0519C94-7141-4CB2-A7F6-68313115F3FC}" type="sibTrans" cxnId="{2EC3D335-DB6D-4201-B5C3-FB37C420F631}">
      <dgm:prSet/>
      <dgm:spPr/>
      <dgm:t>
        <a:bodyPr/>
        <a:lstStyle/>
        <a:p>
          <a:endParaRPr lang="en-US"/>
        </a:p>
      </dgm:t>
    </dgm:pt>
    <dgm:pt modelId="{8236B8E3-3502-46EB-8830-4C0B26C5A433}">
      <dgm:prSet/>
      <dgm:spPr/>
      <dgm:t>
        <a:bodyPr/>
        <a:lstStyle/>
        <a:p>
          <a:r>
            <a:rPr lang="en-US"/>
            <a:t>Delving into the opportunities that customization stands to gain in the market to differentiate from the competition</a:t>
          </a:r>
        </a:p>
      </dgm:t>
    </dgm:pt>
    <dgm:pt modelId="{1B330E5F-048B-492A-AD48-CA068447CEA7}" type="parTrans" cxnId="{0493BC5A-8A29-4D47-8E35-09571864A676}">
      <dgm:prSet/>
      <dgm:spPr/>
      <dgm:t>
        <a:bodyPr/>
        <a:lstStyle/>
        <a:p>
          <a:endParaRPr lang="en-US"/>
        </a:p>
      </dgm:t>
    </dgm:pt>
    <dgm:pt modelId="{9F61384A-C938-47E6-B69F-6CE1D6F692EC}" type="sibTrans" cxnId="{0493BC5A-8A29-4D47-8E35-09571864A676}">
      <dgm:prSet/>
      <dgm:spPr/>
      <dgm:t>
        <a:bodyPr/>
        <a:lstStyle/>
        <a:p>
          <a:endParaRPr lang="en-US"/>
        </a:p>
      </dgm:t>
    </dgm:pt>
    <dgm:pt modelId="{F067286C-801D-4CCF-8DBC-CC8E08EB7060}">
      <dgm:prSet/>
      <dgm:spPr/>
      <dgm:t>
        <a:bodyPr/>
        <a:lstStyle/>
        <a:p>
          <a:r>
            <a:rPr lang="en-US"/>
            <a:t>Previewing the concept of integrating customization with the sales and manufacturing operation</a:t>
          </a:r>
        </a:p>
      </dgm:t>
    </dgm:pt>
    <dgm:pt modelId="{E819042E-41B4-4BBA-8E7B-C58DF51C28C3}" type="parTrans" cxnId="{E4EDE7E2-D28A-4748-A486-1E4A685987E9}">
      <dgm:prSet/>
      <dgm:spPr/>
      <dgm:t>
        <a:bodyPr/>
        <a:lstStyle/>
        <a:p>
          <a:endParaRPr lang="en-US"/>
        </a:p>
      </dgm:t>
    </dgm:pt>
    <dgm:pt modelId="{76AC864D-9326-446C-B80F-CA19213361CC}" type="sibTrans" cxnId="{E4EDE7E2-D28A-4748-A486-1E4A685987E9}">
      <dgm:prSet/>
      <dgm:spPr/>
      <dgm:t>
        <a:bodyPr/>
        <a:lstStyle/>
        <a:p>
          <a:endParaRPr lang="en-US"/>
        </a:p>
      </dgm:t>
    </dgm:pt>
    <dgm:pt modelId="{191AEF08-A15A-4214-8BF3-AA99647DF307}">
      <dgm:prSet/>
      <dgm:spPr/>
      <dgm:t>
        <a:bodyPr/>
        <a:lstStyle/>
        <a:p>
          <a:r>
            <a:rPr lang="en-US"/>
            <a:t>Recommendations for capitalizing on a customer-driven approach to product development</a:t>
          </a:r>
        </a:p>
      </dgm:t>
    </dgm:pt>
    <dgm:pt modelId="{527BBD21-8C73-44CD-A74F-6BE7B861679A}" type="parTrans" cxnId="{D9F5F5DA-359D-4C22-A230-3DFD9F3B5380}">
      <dgm:prSet/>
      <dgm:spPr/>
      <dgm:t>
        <a:bodyPr/>
        <a:lstStyle/>
        <a:p>
          <a:endParaRPr lang="en-US"/>
        </a:p>
      </dgm:t>
    </dgm:pt>
    <dgm:pt modelId="{1133B976-49DD-4D77-A8EA-CAAF813169F1}" type="sibTrans" cxnId="{D9F5F5DA-359D-4C22-A230-3DFD9F3B5380}">
      <dgm:prSet/>
      <dgm:spPr/>
      <dgm:t>
        <a:bodyPr/>
        <a:lstStyle/>
        <a:p>
          <a:endParaRPr lang="en-US"/>
        </a:p>
      </dgm:t>
    </dgm:pt>
    <dgm:pt modelId="{29167E32-ACBC-46FB-86E1-115DBD657AB0}" type="pres">
      <dgm:prSet presAssocID="{D25459EE-0A70-4FC2-B4E6-4D95E7E22866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DBF5DFF-10F2-4399-B5B4-6FB75559C18B}" type="pres">
      <dgm:prSet presAssocID="{72CBDEA7-48B0-4CA3-BA14-FD4E308BF934}" presName="compNode" presStyleCnt="0"/>
      <dgm:spPr/>
    </dgm:pt>
    <dgm:pt modelId="{B40A6007-6E4A-4D38-A766-52D6D674E5C0}" type="pres">
      <dgm:prSet presAssocID="{72CBDEA7-48B0-4CA3-BA14-FD4E308BF934}" presName="bgRect" presStyleLbl="bgShp" presStyleIdx="0" presStyleCnt="5"/>
      <dgm:spPr/>
    </dgm:pt>
    <dgm:pt modelId="{5CDD5721-4A9E-42CD-B2E9-92CFCB4AFAF2}" type="pres">
      <dgm:prSet presAssocID="{72CBDEA7-48B0-4CA3-BA14-FD4E308BF934}" presName="iconRect" presStyleLbl="nod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hopping cart"/>
        </a:ext>
      </dgm:extLst>
    </dgm:pt>
    <dgm:pt modelId="{8E669201-5FCA-46AA-A721-342DDA574BA8}" type="pres">
      <dgm:prSet presAssocID="{72CBDEA7-48B0-4CA3-BA14-FD4E308BF934}" presName="spaceRect" presStyleCnt="0"/>
      <dgm:spPr/>
    </dgm:pt>
    <dgm:pt modelId="{613109C9-42DC-42D9-AF57-1BA0C1DDE62D}" type="pres">
      <dgm:prSet presAssocID="{72CBDEA7-48B0-4CA3-BA14-FD4E308BF934}" presName="parTx" presStyleLbl="revTx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19CB0FD-D1DB-4A4B-A05E-12E0F360ADAE}" type="pres">
      <dgm:prSet presAssocID="{2A119814-8171-4B87-9A5C-2F13A64A5F3A}" presName="sibTrans" presStyleCnt="0"/>
      <dgm:spPr/>
    </dgm:pt>
    <dgm:pt modelId="{3B0C449E-0109-4542-BB94-79F23BCA56C3}" type="pres">
      <dgm:prSet presAssocID="{61033D5E-0812-4C6A-877C-8993F86D5F5F}" presName="compNode" presStyleCnt="0"/>
      <dgm:spPr/>
    </dgm:pt>
    <dgm:pt modelId="{A3F68F58-8974-4A0E-ACA0-39263D4FD303}" type="pres">
      <dgm:prSet presAssocID="{61033D5E-0812-4C6A-877C-8993F86D5F5F}" presName="bgRect" presStyleLbl="bgShp" presStyleIdx="1" presStyleCnt="5"/>
      <dgm:spPr/>
    </dgm:pt>
    <dgm:pt modelId="{B8098483-987F-463B-9BF1-BA5E22284A7E}" type="pres">
      <dgm:prSet presAssocID="{61033D5E-0812-4C6A-877C-8993F86D5F5F}" presName="iconRect" presStyleLbl="node1" presStyleIdx="1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BD4781A1-71DA-43B1-B7EC-AD537F513955}" type="pres">
      <dgm:prSet presAssocID="{61033D5E-0812-4C6A-877C-8993F86D5F5F}" presName="spaceRect" presStyleCnt="0"/>
      <dgm:spPr/>
    </dgm:pt>
    <dgm:pt modelId="{7AFD72CC-6440-4884-BF22-C0754A8DC88C}" type="pres">
      <dgm:prSet presAssocID="{61033D5E-0812-4C6A-877C-8993F86D5F5F}" presName="parTx" presStyleLbl="revTx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9563D37-E4BB-40C9-B138-FA77185C826F}" type="pres">
      <dgm:prSet presAssocID="{B0519C94-7141-4CB2-A7F6-68313115F3FC}" presName="sibTrans" presStyleCnt="0"/>
      <dgm:spPr/>
    </dgm:pt>
    <dgm:pt modelId="{5E937143-0BF4-4399-8A04-12CAA876602F}" type="pres">
      <dgm:prSet presAssocID="{8236B8E3-3502-46EB-8830-4C0B26C5A433}" presName="compNode" presStyleCnt="0"/>
      <dgm:spPr/>
    </dgm:pt>
    <dgm:pt modelId="{B1BBDB9B-0AC5-4237-8F2F-9E536D2B6556}" type="pres">
      <dgm:prSet presAssocID="{8236B8E3-3502-46EB-8830-4C0B26C5A433}" presName="bgRect" presStyleLbl="bgShp" presStyleIdx="2" presStyleCnt="5"/>
      <dgm:spPr/>
    </dgm:pt>
    <dgm:pt modelId="{00BEE482-84EE-4E47-A976-98EB118D7DE0}" type="pres">
      <dgm:prSet presAssocID="{8236B8E3-3502-46EB-8830-4C0B26C5A433}" presName="iconRect" presStyleLbl="node1" presStyleIdx="2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Maximize"/>
        </a:ext>
      </dgm:extLst>
    </dgm:pt>
    <dgm:pt modelId="{926B793C-FF6B-413E-BAF6-ECFCEEA6D8F2}" type="pres">
      <dgm:prSet presAssocID="{8236B8E3-3502-46EB-8830-4C0B26C5A433}" presName="spaceRect" presStyleCnt="0"/>
      <dgm:spPr/>
    </dgm:pt>
    <dgm:pt modelId="{54153539-BFB3-4327-A4B0-575CED64090B}" type="pres">
      <dgm:prSet presAssocID="{8236B8E3-3502-46EB-8830-4C0B26C5A433}" presName="parTx" presStyleLbl="revTx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0E14960-56BF-4E91-BBED-120FAB7F8021}" type="pres">
      <dgm:prSet presAssocID="{9F61384A-C938-47E6-B69F-6CE1D6F692EC}" presName="sibTrans" presStyleCnt="0"/>
      <dgm:spPr/>
    </dgm:pt>
    <dgm:pt modelId="{754DB854-4286-420B-B420-369A9C40B92F}" type="pres">
      <dgm:prSet presAssocID="{F067286C-801D-4CCF-8DBC-CC8E08EB7060}" presName="compNode" presStyleCnt="0"/>
      <dgm:spPr/>
    </dgm:pt>
    <dgm:pt modelId="{BA80A4CF-6C8D-4B70-A90C-C09253F6549A}" type="pres">
      <dgm:prSet presAssocID="{F067286C-801D-4CCF-8DBC-CC8E08EB7060}" presName="bgRect" presStyleLbl="bgShp" presStyleIdx="3" presStyleCnt="5"/>
      <dgm:spPr/>
    </dgm:pt>
    <dgm:pt modelId="{5B5EBD7F-D89D-4012-A2E3-86FDC87EB4D1}" type="pres">
      <dgm:prSet presAssocID="{F067286C-801D-4CCF-8DBC-CC8E08EB7060}" presName="iconRect" presStyleLbl="node1" presStyleIdx="3" presStyleCnt="5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7BBA2C0D-83BF-467B-AF43-30DB50497078}" type="pres">
      <dgm:prSet presAssocID="{F067286C-801D-4CCF-8DBC-CC8E08EB7060}" presName="spaceRect" presStyleCnt="0"/>
      <dgm:spPr/>
    </dgm:pt>
    <dgm:pt modelId="{0C5C04F8-F0B5-445D-A3E5-469E99FDE449}" type="pres">
      <dgm:prSet presAssocID="{F067286C-801D-4CCF-8DBC-CC8E08EB7060}" presName="parTx" presStyleLbl="revTx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718EBF5-76E2-4675-B4A7-40E1A30CF274}" type="pres">
      <dgm:prSet presAssocID="{76AC864D-9326-446C-B80F-CA19213361CC}" presName="sibTrans" presStyleCnt="0"/>
      <dgm:spPr/>
    </dgm:pt>
    <dgm:pt modelId="{B5FB974B-D09B-493D-AB05-E49FE7F5C4F1}" type="pres">
      <dgm:prSet presAssocID="{191AEF08-A15A-4214-8BF3-AA99647DF307}" presName="compNode" presStyleCnt="0"/>
      <dgm:spPr/>
    </dgm:pt>
    <dgm:pt modelId="{7393BB97-1E36-4B99-9034-2B8153E483DA}" type="pres">
      <dgm:prSet presAssocID="{191AEF08-A15A-4214-8BF3-AA99647DF307}" presName="bgRect" presStyleLbl="bgShp" presStyleIdx="4" presStyleCnt="5"/>
      <dgm:spPr/>
    </dgm:pt>
    <dgm:pt modelId="{3665ADD5-D925-497C-8864-4EE30CBA045E}" type="pres">
      <dgm:prSet presAssocID="{191AEF08-A15A-4214-8BF3-AA99647DF307}" presName="iconRect" presStyleLbl="node1" presStyleIdx="4" presStyleCnt="5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C5FBAF5-8C80-4FD0-991E-DA475729EAF7}" type="pres">
      <dgm:prSet presAssocID="{191AEF08-A15A-4214-8BF3-AA99647DF307}" presName="spaceRect" presStyleCnt="0"/>
      <dgm:spPr/>
    </dgm:pt>
    <dgm:pt modelId="{9F3D1E6A-FD70-48C3-9BD9-5634E2828C16}" type="pres">
      <dgm:prSet presAssocID="{191AEF08-A15A-4214-8BF3-AA99647DF307}" presName="parTx" presStyleLbl="revTx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2EC3D335-DB6D-4201-B5C3-FB37C420F631}" srcId="{D25459EE-0A70-4FC2-B4E6-4D95E7E22866}" destId="{61033D5E-0812-4C6A-877C-8993F86D5F5F}" srcOrd="1" destOrd="0" parTransId="{1FB15B6A-0D46-435B-BA37-9915BCEABE00}" sibTransId="{B0519C94-7141-4CB2-A7F6-68313115F3FC}"/>
    <dgm:cxn modelId="{5FA17A3E-A9D2-4955-9727-01E8F0009F27}" type="presOf" srcId="{61033D5E-0812-4C6A-877C-8993F86D5F5F}" destId="{7AFD72CC-6440-4884-BF22-C0754A8DC88C}" srcOrd="0" destOrd="0" presId="urn:microsoft.com/office/officeart/2018/2/layout/IconVerticalSolidList"/>
    <dgm:cxn modelId="{D9F5F5DA-359D-4C22-A230-3DFD9F3B5380}" srcId="{D25459EE-0A70-4FC2-B4E6-4D95E7E22866}" destId="{191AEF08-A15A-4214-8BF3-AA99647DF307}" srcOrd="4" destOrd="0" parTransId="{527BBD21-8C73-44CD-A74F-6BE7B861679A}" sibTransId="{1133B976-49DD-4D77-A8EA-CAAF813169F1}"/>
    <dgm:cxn modelId="{E4EDE7E2-D28A-4748-A486-1E4A685987E9}" srcId="{D25459EE-0A70-4FC2-B4E6-4D95E7E22866}" destId="{F067286C-801D-4CCF-8DBC-CC8E08EB7060}" srcOrd="3" destOrd="0" parTransId="{E819042E-41B4-4BBA-8E7B-C58DF51C28C3}" sibTransId="{76AC864D-9326-446C-B80F-CA19213361CC}"/>
    <dgm:cxn modelId="{0493BC5A-8A29-4D47-8E35-09571864A676}" srcId="{D25459EE-0A70-4FC2-B4E6-4D95E7E22866}" destId="{8236B8E3-3502-46EB-8830-4C0B26C5A433}" srcOrd="2" destOrd="0" parTransId="{1B330E5F-048B-492A-AD48-CA068447CEA7}" sibTransId="{9F61384A-C938-47E6-B69F-6CE1D6F692EC}"/>
    <dgm:cxn modelId="{3D0A38ED-6C73-4E01-B173-2620CFFACBBD}" type="presOf" srcId="{8236B8E3-3502-46EB-8830-4C0B26C5A433}" destId="{54153539-BFB3-4327-A4B0-575CED64090B}" srcOrd="0" destOrd="0" presId="urn:microsoft.com/office/officeart/2018/2/layout/IconVerticalSolidList"/>
    <dgm:cxn modelId="{B298E1B0-8FBE-4CD1-BF95-C2622A0F6106}" srcId="{D25459EE-0A70-4FC2-B4E6-4D95E7E22866}" destId="{72CBDEA7-48B0-4CA3-BA14-FD4E308BF934}" srcOrd="0" destOrd="0" parTransId="{B92B1284-C86C-4F1A-B2FE-597A3A6E880E}" sibTransId="{2A119814-8171-4B87-9A5C-2F13A64A5F3A}"/>
    <dgm:cxn modelId="{93ED7843-12B7-4C4B-81FA-B1754EEEA569}" type="presOf" srcId="{191AEF08-A15A-4214-8BF3-AA99647DF307}" destId="{9F3D1E6A-FD70-48C3-9BD9-5634E2828C16}" srcOrd="0" destOrd="0" presId="urn:microsoft.com/office/officeart/2018/2/layout/IconVerticalSolidList"/>
    <dgm:cxn modelId="{DD56D524-027C-4E51-9B49-C165AB933E98}" type="presOf" srcId="{D25459EE-0A70-4FC2-B4E6-4D95E7E22866}" destId="{29167E32-ACBC-46FB-86E1-115DBD657AB0}" srcOrd="0" destOrd="0" presId="urn:microsoft.com/office/officeart/2018/2/layout/IconVerticalSolidList"/>
    <dgm:cxn modelId="{0D5B0227-8409-42CA-BBBD-7419ABA28F22}" type="presOf" srcId="{F067286C-801D-4CCF-8DBC-CC8E08EB7060}" destId="{0C5C04F8-F0B5-445D-A3E5-469E99FDE449}" srcOrd="0" destOrd="0" presId="urn:microsoft.com/office/officeart/2018/2/layout/IconVerticalSolidList"/>
    <dgm:cxn modelId="{0746EB48-745F-4F22-B6AE-C30458F12AE3}" type="presOf" srcId="{72CBDEA7-48B0-4CA3-BA14-FD4E308BF934}" destId="{613109C9-42DC-42D9-AF57-1BA0C1DDE62D}" srcOrd="0" destOrd="0" presId="urn:microsoft.com/office/officeart/2018/2/layout/IconVerticalSolidList"/>
    <dgm:cxn modelId="{31449F8F-57CB-40C7-9B74-839007ADC352}" type="presParOf" srcId="{29167E32-ACBC-46FB-86E1-115DBD657AB0}" destId="{9DBF5DFF-10F2-4399-B5B4-6FB75559C18B}" srcOrd="0" destOrd="0" presId="urn:microsoft.com/office/officeart/2018/2/layout/IconVerticalSolidList"/>
    <dgm:cxn modelId="{211EAA73-7F28-46B0-8F50-C362442CB578}" type="presParOf" srcId="{9DBF5DFF-10F2-4399-B5B4-6FB75559C18B}" destId="{B40A6007-6E4A-4D38-A766-52D6D674E5C0}" srcOrd="0" destOrd="0" presId="urn:microsoft.com/office/officeart/2018/2/layout/IconVerticalSolidList"/>
    <dgm:cxn modelId="{7BFDC955-AD9E-4B6E-B7FD-5E4CB93A543D}" type="presParOf" srcId="{9DBF5DFF-10F2-4399-B5B4-6FB75559C18B}" destId="{5CDD5721-4A9E-42CD-B2E9-92CFCB4AFAF2}" srcOrd="1" destOrd="0" presId="urn:microsoft.com/office/officeart/2018/2/layout/IconVerticalSolidList"/>
    <dgm:cxn modelId="{3D48DA54-AF50-492D-8FD3-B4F2E3F2547E}" type="presParOf" srcId="{9DBF5DFF-10F2-4399-B5B4-6FB75559C18B}" destId="{8E669201-5FCA-46AA-A721-342DDA574BA8}" srcOrd="2" destOrd="0" presId="urn:microsoft.com/office/officeart/2018/2/layout/IconVerticalSolidList"/>
    <dgm:cxn modelId="{428F0E91-A0A3-4008-87B7-3FF9F5C27408}" type="presParOf" srcId="{9DBF5DFF-10F2-4399-B5B4-6FB75559C18B}" destId="{613109C9-42DC-42D9-AF57-1BA0C1DDE62D}" srcOrd="3" destOrd="0" presId="urn:microsoft.com/office/officeart/2018/2/layout/IconVerticalSolidList"/>
    <dgm:cxn modelId="{14F5344B-9A03-4017-A83D-00A897D1E2B6}" type="presParOf" srcId="{29167E32-ACBC-46FB-86E1-115DBD657AB0}" destId="{A19CB0FD-D1DB-4A4B-A05E-12E0F360ADAE}" srcOrd="1" destOrd="0" presId="urn:microsoft.com/office/officeart/2018/2/layout/IconVerticalSolidList"/>
    <dgm:cxn modelId="{645EB944-A048-4CAB-8D67-0957E998B6BB}" type="presParOf" srcId="{29167E32-ACBC-46FB-86E1-115DBD657AB0}" destId="{3B0C449E-0109-4542-BB94-79F23BCA56C3}" srcOrd="2" destOrd="0" presId="urn:microsoft.com/office/officeart/2018/2/layout/IconVerticalSolidList"/>
    <dgm:cxn modelId="{61571643-8680-4173-AF22-8C890FAE74A5}" type="presParOf" srcId="{3B0C449E-0109-4542-BB94-79F23BCA56C3}" destId="{A3F68F58-8974-4A0E-ACA0-39263D4FD303}" srcOrd="0" destOrd="0" presId="urn:microsoft.com/office/officeart/2018/2/layout/IconVerticalSolidList"/>
    <dgm:cxn modelId="{4AA2CDF4-5E2E-49B3-906E-2BD52BC09B8E}" type="presParOf" srcId="{3B0C449E-0109-4542-BB94-79F23BCA56C3}" destId="{B8098483-987F-463B-9BF1-BA5E22284A7E}" srcOrd="1" destOrd="0" presId="urn:microsoft.com/office/officeart/2018/2/layout/IconVerticalSolidList"/>
    <dgm:cxn modelId="{28B6E932-7035-420A-8D83-354BB341DE90}" type="presParOf" srcId="{3B0C449E-0109-4542-BB94-79F23BCA56C3}" destId="{BD4781A1-71DA-43B1-B7EC-AD537F513955}" srcOrd="2" destOrd="0" presId="urn:microsoft.com/office/officeart/2018/2/layout/IconVerticalSolidList"/>
    <dgm:cxn modelId="{152CACFE-914D-4135-BA2B-4DDD427102AC}" type="presParOf" srcId="{3B0C449E-0109-4542-BB94-79F23BCA56C3}" destId="{7AFD72CC-6440-4884-BF22-C0754A8DC88C}" srcOrd="3" destOrd="0" presId="urn:microsoft.com/office/officeart/2018/2/layout/IconVerticalSolidList"/>
    <dgm:cxn modelId="{E4F06989-BC5D-4FF7-8743-CF29BFDFE446}" type="presParOf" srcId="{29167E32-ACBC-46FB-86E1-115DBD657AB0}" destId="{19563D37-E4BB-40C9-B138-FA77185C826F}" srcOrd="3" destOrd="0" presId="urn:microsoft.com/office/officeart/2018/2/layout/IconVerticalSolidList"/>
    <dgm:cxn modelId="{7BFCBD9C-8083-4FAE-8C26-BCB80AE56B72}" type="presParOf" srcId="{29167E32-ACBC-46FB-86E1-115DBD657AB0}" destId="{5E937143-0BF4-4399-8A04-12CAA876602F}" srcOrd="4" destOrd="0" presId="urn:microsoft.com/office/officeart/2018/2/layout/IconVerticalSolidList"/>
    <dgm:cxn modelId="{6471086B-58FD-4761-B4E7-75481DFD2480}" type="presParOf" srcId="{5E937143-0BF4-4399-8A04-12CAA876602F}" destId="{B1BBDB9B-0AC5-4237-8F2F-9E536D2B6556}" srcOrd="0" destOrd="0" presId="urn:microsoft.com/office/officeart/2018/2/layout/IconVerticalSolidList"/>
    <dgm:cxn modelId="{93A8115A-B523-4034-B229-2E096A649D55}" type="presParOf" srcId="{5E937143-0BF4-4399-8A04-12CAA876602F}" destId="{00BEE482-84EE-4E47-A976-98EB118D7DE0}" srcOrd="1" destOrd="0" presId="urn:microsoft.com/office/officeart/2018/2/layout/IconVerticalSolidList"/>
    <dgm:cxn modelId="{AC4A31DF-0D38-459B-AB43-951CC53E6641}" type="presParOf" srcId="{5E937143-0BF4-4399-8A04-12CAA876602F}" destId="{926B793C-FF6B-413E-BAF6-ECFCEEA6D8F2}" srcOrd="2" destOrd="0" presId="urn:microsoft.com/office/officeart/2018/2/layout/IconVerticalSolidList"/>
    <dgm:cxn modelId="{15104208-FABC-4C5C-AA55-F58F8BDD7234}" type="presParOf" srcId="{5E937143-0BF4-4399-8A04-12CAA876602F}" destId="{54153539-BFB3-4327-A4B0-575CED64090B}" srcOrd="3" destOrd="0" presId="urn:microsoft.com/office/officeart/2018/2/layout/IconVerticalSolidList"/>
    <dgm:cxn modelId="{4587A9F6-2264-4C35-88B5-BC4334185709}" type="presParOf" srcId="{29167E32-ACBC-46FB-86E1-115DBD657AB0}" destId="{20E14960-56BF-4E91-BBED-120FAB7F8021}" srcOrd="5" destOrd="0" presId="urn:microsoft.com/office/officeart/2018/2/layout/IconVerticalSolidList"/>
    <dgm:cxn modelId="{20C09C98-B348-4444-8FCA-738D2903575A}" type="presParOf" srcId="{29167E32-ACBC-46FB-86E1-115DBD657AB0}" destId="{754DB854-4286-420B-B420-369A9C40B92F}" srcOrd="6" destOrd="0" presId="urn:microsoft.com/office/officeart/2018/2/layout/IconVerticalSolidList"/>
    <dgm:cxn modelId="{ED3B2034-55F6-4BE2-9256-5107A44627B5}" type="presParOf" srcId="{754DB854-4286-420B-B420-369A9C40B92F}" destId="{BA80A4CF-6C8D-4B70-A90C-C09253F6549A}" srcOrd="0" destOrd="0" presId="urn:microsoft.com/office/officeart/2018/2/layout/IconVerticalSolidList"/>
    <dgm:cxn modelId="{7847E0D3-36C1-443B-8495-C6BF3C7E3454}" type="presParOf" srcId="{754DB854-4286-420B-B420-369A9C40B92F}" destId="{5B5EBD7F-D89D-4012-A2E3-86FDC87EB4D1}" srcOrd="1" destOrd="0" presId="urn:microsoft.com/office/officeart/2018/2/layout/IconVerticalSolidList"/>
    <dgm:cxn modelId="{F972F837-FC47-4B7B-A2FE-03734BF50AC7}" type="presParOf" srcId="{754DB854-4286-420B-B420-369A9C40B92F}" destId="{7BBA2C0D-83BF-467B-AF43-30DB50497078}" srcOrd="2" destOrd="0" presId="urn:microsoft.com/office/officeart/2018/2/layout/IconVerticalSolidList"/>
    <dgm:cxn modelId="{3A90AFF2-88F7-416C-AFC2-F846EDB48934}" type="presParOf" srcId="{754DB854-4286-420B-B420-369A9C40B92F}" destId="{0C5C04F8-F0B5-445D-A3E5-469E99FDE449}" srcOrd="3" destOrd="0" presId="urn:microsoft.com/office/officeart/2018/2/layout/IconVerticalSolidList"/>
    <dgm:cxn modelId="{93372ED8-6209-461C-BAA8-65415C38AC38}" type="presParOf" srcId="{29167E32-ACBC-46FB-86E1-115DBD657AB0}" destId="{8718EBF5-76E2-4675-B4A7-40E1A30CF274}" srcOrd="7" destOrd="0" presId="urn:microsoft.com/office/officeart/2018/2/layout/IconVerticalSolidList"/>
    <dgm:cxn modelId="{0402FED5-8CA7-474F-BD23-EEBBBA2CB733}" type="presParOf" srcId="{29167E32-ACBC-46FB-86E1-115DBD657AB0}" destId="{B5FB974B-D09B-493D-AB05-E49FE7F5C4F1}" srcOrd="8" destOrd="0" presId="urn:microsoft.com/office/officeart/2018/2/layout/IconVerticalSolidList"/>
    <dgm:cxn modelId="{1656323F-A54F-4F9F-BEBE-52E3604624E9}" type="presParOf" srcId="{B5FB974B-D09B-493D-AB05-E49FE7F5C4F1}" destId="{7393BB97-1E36-4B99-9034-2B8153E483DA}" srcOrd="0" destOrd="0" presId="urn:microsoft.com/office/officeart/2018/2/layout/IconVerticalSolidList"/>
    <dgm:cxn modelId="{46E6A775-53B6-4831-BA8D-71D59C7D0912}" type="presParOf" srcId="{B5FB974B-D09B-493D-AB05-E49FE7F5C4F1}" destId="{3665ADD5-D925-497C-8864-4EE30CBA045E}" srcOrd="1" destOrd="0" presId="urn:microsoft.com/office/officeart/2018/2/layout/IconVerticalSolidList"/>
    <dgm:cxn modelId="{3B5F4DDE-EBDD-4304-83D0-04C617E8D98D}" type="presParOf" srcId="{B5FB974B-D09B-493D-AB05-E49FE7F5C4F1}" destId="{FC5FBAF5-8C80-4FD0-991E-DA475729EAF7}" srcOrd="2" destOrd="0" presId="urn:microsoft.com/office/officeart/2018/2/layout/IconVerticalSolidList"/>
    <dgm:cxn modelId="{DAF3E68B-34AC-4E82-A15A-937F5EAB32C6}" type="presParOf" srcId="{B5FB974B-D09B-493D-AB05-E49FE7F5C4F1}" destId="{9F3D1E6A-FD70-48C3-9BD9-5634E2828C1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25459EE-0A70-4FC2-B4E6-4D95E7E22866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72CBDEA7-48B0-4CA3-BA14-FD4E308BF93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 Display" panose="020F0302020204030204"/>
            </a:rPr>
            <a:t>Regional</a:t>
          </a:r>
          <a:r>
            <a:rPr lang="en-US"/>
            <a:t> </a:t>
          </a:r>
          <a:r>
            <a:rPr lang="en-US">
              <a:latin typeface="Aptos Display" panose="020F0302020204030204"/>
            </a:rPr>
            <a:t>trends indicate a need for customer solutions</a:t>
          </a:r>
          <a:endParaRPr lang="en-US"/>
        </a:p>
      </dgm:t>
    </dgm:pt>
    <dgm:pt modelId="{B92B1284-C86C-4F1A-B2FE-597A3A6E880E}" type="parTrans" cxnId="{B298E1B0-8FBE-4CD1-BF95-C2622A0F6106}">
      <dgm:prSet/>
      <dgm:spPr/>
      <dgm:t>
        <a:bodyPr/>
        <a:lstStyle/>
        <a:p>
          <a:endParaRPr lang="en-US"/>
        </a:p>
      </dgm:t>
    </dgm:pt>
    <dgm:pt modelId="{2A119814-8171-4B87-9A5C-2F13A64A5F3A}" type="sibTrans" cxnId="{B298E1B0-8FBE-4CD1-BF95-C2622A0F6106}">
      <dgm:prSet/>
      <dgm:spPr/>
      <dgm:t>
        <a:bodyPr/>
        <a:lstStyle/>
        <a:p>
          <a:endParaRPr lang="en-US"/>
        </a:p>
      </dgm:t>
    </dgm:pt>
    <dgm:pt modelId="{61033D5E-0812-4C6A-877C-8993F86D5F5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 Display" panose="020F0302020204030204"/>
            </a:rPr>
            <a:t>Drying time, durability, and price are leading factors in buying decisions </a:t>
          </a:r>
          <a:endParaRPr lang="en-US"/>
        </a:p>
      </dgm:t>
    </dgm:pt>
    <dgm:pt modelId="{1FB15B6A-0D46-435B-BA37-9915BCEABE00}" type="parTrans" cxnId="{2EC3D335-DB6D-4201-B5C3-FB37C420F631}">
      <dgm:prSet/>
      <dgm:spPr/>
      <dgm:t>
        <a:bodyPr/>
        <a:lstStyle/>
        <a:p>
          <a:endParaRPr lang="en-US"/>
        </a:p>
      </dgm:t>
    </dgm:pt>
    <dgm:pt modelId="{B0519C94-7141-4CB2-A7F6-68313115F3FC}" type="sibTrans" cxnId="{2EC3D335-DB6D-4201-B5C3-FB37C420F631}">
      <dgm:prSet/>
      <dgm:spPr/>
      <dgm:t>
        <a:bodyPr/>
        <a:lstStyle/>
        <a:p>
          <a:endParaRPr lang="en-US"/>
        </a:p>
      </dgm:t>
    </dgm:pt>
    <dgm:pt modelId="{F067286C-801D-4CCF-8DBC-CC8E08EB7060}">
      <dgm:prSet/>
      <dgm:spPr/>
      <dgm:t>
        <a:bodyPr/>
        <a:lstStyle/>
        <a:p>
          <a:pPr rtl="0">
            <a:lnSpc>
              <a:spcPct val="100000"/>
            </a:lnSpc>
          </a:pPr>
          <a:r>
            <a:rPr lang="en-US">
              <a:latin typeface="Aptos Display" panose="020F0302020204030204"/>
            </a:rPr>
            <a:t>Customization improves customer leads, product development, and differentation from competitors</a:t>
          </a:r>
          <a:endParaRPr lang="en-US"/>
        </a:p>
      </dgm:t>
    </dgm:pt>
    <dgm:pt modelId="{E819042E-41B4-4BBA-8E7B-C58DF51C28C3}" type="parTrans" cxnId="{E4EDE7E2-D28A-4748-A486-1E4A685987E9}">
      <dgm:prSet/>
      <dgm:spPr/>
      <dgm:t>
        <a:bodyPr/>
        <a:lstStyle/>
        <a:p>
          <a:endParaRPr lang="en-US"/>
        </a:p>
      </dgm:t>
    </dgm:pt>
    <dgm:pt modelId="{76AC864D-9326-446C-B80F-CA19213361CC}" type="sibTrans" cxnId="{E4EDE7E2-D28A-4748-A486-1E4A685987E9}">
      <dgm:prSet/>
      <dgm:spPr/>
      <dgm:t>
        <a:bodyPr/>
        <a:lstStyle/>
        <a:p>
          <a:endParaRPr lang="en-US"/>
        </a:p>
      </dgm:t>
    </dgm:pt>
    <dgm:pt modelId="{191AEF08-A15A-4214-8BF3-AA99647DF307}">
      <dgm:prSet phldr="0"/>
      <dgm:spPr/>
      <dgm:t>
        <a:bodyPr/>
        <a:lstStyle/>
        <a:p>
          <a:pPr rtl="0">
            <a:lnSpc>
              <a:spcPct val="100000"/>
            </a:lnSpc>
          </a:pPr>
          <a:r>
            <a:rPr lang="en-US">
              <a:latin typeface="Aptos Display" panose="020F0302020204030204"/>
            </a:rPr>
            <a:t>Technology solutions exist for DMI to integrate an interactive customization tool on the company website</a:t>
          </a:r>
          <a:endParaRPr lang="en-US"/>
        </a:p>
      </dgm:t>
    </dgm:pt>
    <dgm:pt modelId="{527BBD21-8C73-44CD-A74F-6BE7B861679A}" type="parTrans" cxnId="{D9F5F5DA-359D-4C22-A230-3DFD9F3B5380}">
      <dgm:prSet/>
      <dgm:spPr/>
      <dgm:t>
        <a:bodyPr/>
        <a:lstStyle/>
        <a:p>
          <a:endParaRPr lang="en-US"/>
        </a:p>
      </dgm:t>
    </dgm:pt>
    <dgm:pt modelId="{1133B976-49DD-4D77-A8EA-CAAF813169F1}" type="sibTrans" cxnId="{D9F5F5DA-359D-4C22-A230-3DFD9F3B5380}">
      <dgm:prSet/>
      <dgm:spPr/>
      <dgm:t>
        <a:bodyPr/>
        <a:lstStyle/>
        <a:p>
          <a:endParaRPr lang="en-US"/>
        </a:p>
      </dgm:t>
    </dgm:pt>
    <dgm:pt modelId="{5C79CC59-9452-415D-9CD9-1BDB2096104A}">
      <dgm:prSet phldr="0"/>
      <dgm:spPr/>
      <dgm:t>
        <a:bodyPr/>
        <a:lstStyle/>
        <a:p>
          <a:pPr rtl="0">
            <a:lnSpc>
              <a:spcPct val="100000"/>
            </a:lnSpc>
          </a:pPr>
          <a:r>
            <a:rPr lang="en-US">
              <a:latin typeface="Aptos Display" panose="020F0302020204030204"/>
            </a:rPr>
            <a:t>More customer engagement strategies will attract more interest in Ductmate sealants</a:t>
          </a:r>
        </a:p>
      </dgm:t>
    </dgm:pt>
    <dgm:pt modelId="{37BCD1F7-24E8-465D-940E-87C087E26628}" type="parTrans" cxnId="{B9D39C0C-ACB5-4875-B0B0-56A5C9B315FB}">
      <dgm:prSet/>
      <dgm:spPr/>
    </dgm:pt>
    <dgm:pt modelId="{9E5E0778-350B-46D2-8FE8-9F1970D6349B}" type="sibTrans" cxnId="{B9D39C0C-ACB5-4875-B0B0-56A5C9B315FB}">
      <dgm:prSet/>
      <dgm:spPr/>
    </dgm:pt>
    <dgm:pt modelId="{29167E32-ACBC-46FB-86E1-115DBD657AB0}" type="pres">
      <dgm:prSet presAssocID="{D25459EE-0A70-4FC2-B4E6-4D95E7E22866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DBF5DFF-10F2-4399-B5B4-6FB75559C18B}" type="pres">
      <dgm:prSet presAssocID="{72CBDEA7-48B0-4CA3-BA14-FD4E308BF934}" presName="compNode" presStyleCnt="0"/>
      <dgm:spPr/>
    </dgm:pt>
    <dgm:pt modelId="{B40A6007-6E4A-4D38-A766-52D6D674E5C0}" type="pres">
      <dgm:prSet presAssocID="{72CBDEA7-48B0-4CA3-BA14-FD4E308BF934}" presName="bgRect" presStyleLbl="bgShp" presStyleIdx="0" presStyleCnt="5"/>
      <dgm:spPr/>
    </dgm:pt>
    <dgm:pt modelId="{5CDD5721-4A9E-42CD-B2E9-92CFCB4AFAF2}" type="pres">
      <dgm:prSet presAssocID="{72CBDEA7-48B0-4CA3-BA14-FD4E308BF934}" presName="iconRect" presStyleLbl="nod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hopping cart"/>
        </a:ext>
      </dgm:extLst>
    </dgm:pt>
    <dgm:pt modelId="{8E669201-5FCA-46AA-A721-342DDA574BA8}" type="pres">
      <dgm:prSet presAssocID="{72CBDEA7-48B0-4CA3-BA14-FD4E308BF934}" presName="spaceRect" presStyleCnt="0"/>
      <dgm:spPr/>
    </dgm:pt>
    <dgm:pt modelId="{613109C9-42DC-42D9-AF57-1BA0C1DDE62D}" type="pres">
      <dgm:prSet presAssocID="{72CBDEA7-48B0-4CA3-BA14-FD4E308BF934}" presName="parTx" presStyleLbl="revTx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19CB0FD-D1DB-4A4B-A05E-12E0F360ADAE}" type="pres">
      <dgm:prSet presAssocID="{2A119814-8171-4B87-9A5C-2F13A64A5F3A}" presName="sibTrans" presStyleCnt="0"/>
      <dgm:spPr/>
    </dgm:pt>
    <dgm:pt modelId="{3B0C449E-0109-4542-BB94-79F23BCA56C3}" type="pres">
      <dgm:prSet presAssocID="{61033D5E-0812-4C6A-877C-8993F86D5F5F}" presName="compNode" presStyleCnt="0"/>
      <dgm:spPr/>
    </dgm:pt>
    <dgm:pt modelId="{A3F68F58-8974-4A0E-ACA0-39263D4FD303}" type="pres">
      <dgm:prSet presAssocID="{61033D5E-0812-4C6A-877C-8993F86D5F5F}" presName="bgRect" presStyleLbl="bgShp" presStyleIdx="1" presStyleCnt="5"/>
      <dgm:spPr/>
    </dgm:pt>
    <dgm:pt modelId="{B8098483-987F-463B-9BF1-BA5E22284A7E}" type="pres">
      <dgm:prSet presAssocID="{61033D5E-0812-4C6A-877C-8993F86D5F5F}" presName="iconRect" presStyleLbl="node1" presStyleIdx="1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BD4781A1-71DA-43B1-B7EC-AD537F513955}" type="pres">
      <dgm:prSet presAssocID="{61033D5E-0812-4C6A-877C-8993F86D5F5F}" presName="spaceRect" presStyleCnt="0"/>
      <dgm:spPr/>
    </dgm:pt>
    <dgm:pt modelId="{7AFD72CC-6440-4884-BF22-C0754A8DC88C}" type="pres">
      <dgm:prSet presAssocID="{61033D5E-0812-4C6A-877C-8993F86D5F5F}" presName="parTx" presStyleLbl="revTx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9563D37-E4BB-40C9-B138-FA77185C826F}" type="pres">
      <dgm:prSet presAssocID="{B0519C94-7141-4CB2-A7F6-68313115F3FC}" presName="sibTrans" presStyleCnt="0"/>
      <dgm:spPr/>
    </dgm:pt>
    <dgm:pt modelId="{A38D2A18-842B-4958-B967-42E9EB0C5004}" type="pres">
      <dgm:prSet presAssocID="{5C79CC59-9452-415D-9CD9-1BDB2096104A}" presName="compNode" presStyleCnt="0"/>
      <dgm:spPr/>
    </dgm:pt>
    <dgm:pt modelId="{775D6E6B-16A3-407B-9600-54BFCC7C5EBE}" type="pres">
      <dgm:prSet presAssocID="{5C79CC59-9452-415D-9CD9-1BDB2096104A}" presName="bgRect" presStyleLbl="bgShp" presStyleIdx="2" presStyleCnt="5"/>
      <dgm:spPr/>
    </dgm:pt>
    <dgm:pt modelId="{42D2FFF3-AEC8-4822-B7D6-C6968CD8FB94}" type="pres">
      <dgm:prSet presAssocID="{5C79CC59-9452-415D-9CD9-1BDB2096104A}" presName="iconRect" presStyleLbl="node1" presStyleIdx="2" presStyleCnt="5"/>
      <dgm:spPr/>
    </dgm:pt>
    <dgm:pt modelId="{E3A348B6-008D-4291-BC03-B8D76BC5B653}" type="pres">
      <dgm:prSet presAssocID="{5C79CC59-9452-415D-9CD9-1BDB2096104A}" presName="spaceRect" presStyleCnt="0"/>
      <dgm:spPr/>
    </dgm:pt>
    <dgm:pt modelId="{D95E8BAD-7059-400E-A407-408DF243CCF6}" type="pres">
      <dgm:prSet presAssocID="{5C79CC59-9452-415D-9CD9-1BDB2096104A}" presName="parTx" presStyleLbl="revTx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8067697-7128-4811-9C3C-372668C527A9}" type="pres">
      <dgm:prSet presAssocID="{9E5E0778-350B-46D2-8FE8-9F1970D6349B}" presName="sibTrans" presStyleCnt="0"/>
      <dgm:spPr/>
    </dgm:pt>
    <dgm:pt modelId="{754DB854-4286-420B-B420-369A9C40B92F}" type="pres">
      <dgm:prSet presAssocID="{F067286C-801D-4CCF-8DBC-CC8E08EB7060}" presName="compNode" presStyleCnt="0"/>
      <dgm:spPr/>
    </dgm:pt>
    <dgm:pt modelId="{BA80A4CF-6C8D-4B70-A90C-C09253F6549A}" type="pres">
      <dgm:prSet presAssocID="{F067286C-801D-4CCF-8DBC-CC8E08EB7060}" presName="bgRect" presStyleLbl="bgShp" presStyleIdx="3" presStyleCnt="5"/>
      <dgm:spPr/>
    </dgm:pt>
    <dgm:pt modelId="{5B5EBD7F-D89D-4012-A2E3-86FDC87EB4D1}" type="pres">
      <dgm:prSet presAssocID="{F067286C-801D-4CCF-8DBC-CC8E08EB7060}" presName="iconRect" presStyleLbl="node1" presStyleIdx="3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7BBA2C0D-83BF-467B-AF43-30DB50497078}" type="pres">
      <dgm:prSet presAssocID="{F067286C-801D-4CCF-8DBC-CC8E08EB7060}" presName="spaceRect" presStyleCnt="0"/>
      <dgm:spPr/>
    </dgm:pt>
    <dgm:pt modelId="{0C5C04F8-F0B5-445D-A3E5-469E99FDE449}" type="pres">
      <dgm:prSet presAssocID="{F067286C-801D-4CCF-8DBC-CC8E08EB7060}" presName="parTx" presStyleLbl="revTx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718EBF5-76E2-4675-B4A7-40E1A30CF274}" type="pres">
      <dgm:prSet presAssocID="{76AC864D-9326-446C-B80F-CA19213361CC}" presName="sibTrans" presStyleCnt="0"/>
      <dgm:spPr/>
    </dgm:pt>
    <dgm:pt modelId="{B5FB974B-D09B-493D-AB05-E49FE7F5C4F1}" type="pres">
      <dgm:prSet presAssocID="{191AEF08-A15A-4214-8BF3-AA99647DF307}" presName="compNode" presStyleCnt="0"/>
      <dgm:spPr/>
    </dgm:pt>
    <dgm:pt modelId="{7393BB97-1E36-4B99-9034-2B8153E483DA}" type="pres">
      <dgm:prSet presAssocID="{191AEF08-A15A-4214-8BF3-AA99647DF307}" presName="bgRect" presStyleLbl="bgShp" presStyleIdx="4" presStyleCnt="5"/>
      <dgm:spPr/>
    </dgm:pt>
    <dgm:pt modelId="{3665ADD5-D925-497C-8864-4EE30CBA045E}" type="pres">
      <dgm:prSet presAssocID="{191AEF08-A15A-4214-8BF3-AA99647DF307}" presName="iconRect" presStyleLbl="node1" presStyleIdx="4" presStyleCnt="5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C5FBAF5-8C80-4FD0-991E-DA475729EAF7}" type="pres">
      <dgm:prSet presAssocID="{191AEF08-A15A-4214-8BF3-AA99647DF307}" presName="spaceRect" presStyleCnt="0"/>
      <dgm:spPr/>
    </dgm:pt>
    <dgm:pt modelId="{9F3D1E6A-FD70-48C3-9BD9-5634E2828C16}" type="pres">
      <dgm:prSet presAssocID="{191AEF08-A15A-4214-8BF3-AA99647DF307}" presName="parTx" presStyleLbl="revTx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2EC3D335-DB6D-4201-B5C3-FB37C420F631}" srcId="{D25459EE-0A70-4FC2-B4E6-4D95E7E22866}" destId="{61033D5E-0812-4C6A-877C-8993F86D5F5F}" srcOrd="1" destOrd="0" parTransId="{1FB15B6A-0D46-435B-BA37-9915BCEABE00}" sibTransId="{B0519C94-7141-4CB2-A7F6-68313115F3FC}"/>
    <dgm:cxn modelId="{D9F5F5DA-359D-4C22-A230-3DFD9F3B5380}" srcId="{D25459EE-0A70-4FC2-B4E6-4D95E7E22866}" destId="{191AEF08-A15A-4214-8BF3-AA99647DF307}" srcOrd="4" destOrd="0" parTransId="{527BBD21-8C73-44CD-A74F-6BE7B861679A}" sibTransId="{1133B976-49DD-4D77-A8EA-CAAF813169F1}"/>
    <dgm:cxn modelId="{E4EDE7E2-D28A-4748-A486-1E4A685987E9}" srcId="{D25459EE-0A70-4FC2-B4E6-4D95E7E22866}" destId="{F067286C-801D-4CCF-8DBC-CC8E08EB7060}" srcOrd="3" destOrd="0" parTransId="{E819042E-41B4-4BBA-8E7B-C58DF51C28C3}" sibTransId="{76AC864D-9326-446C-B80F-CA19213361CC}"/>
    <dgm:cxn modelId="{B9D39C0C-ACB5-4875-B0B0-56A5C9B315FB}" srcId="{D25459EE-0A70-4FC2-B4E6-4D95E7E22866}" destId="{5C79CC59-9452-415D-9CD9-1BDB2096104A}" srcOrd="2" destOrd="0" parTransId="{37BCD1F7-24E8-465D-940E-87C087E26628}" sibTransId="{9E5E0778-350B-46D2-8FE8-9F1970D6349B}"/>
    <dgm:cxn modelId="{AD680383-C966-4827-87C8-528B192E7908}" type="presOf" srcId="{61033D5E-0812-4C6A-877C-8993F86D5F5F}" destId="{7AFD72CC-6440-4884-BF22-C0754A8DC88C}" srcOrd="0" destOrd="0" presId="urn:microsoft.com/office/officeart/2018/2/layout/IconVerticalSolidList"/>
    <dgm:cxn modelId="{B298E1B0-8FBE-4CD1-BF95-C2622A0F6106}" srcId="{D25459EE-0A70-4FC2-B4E6-4D95E7E22866}" destId="{72CBDEA7-48B0-4CA3-BA14-FD4E308BF934}" srcOrd="0" destOrd="0" parTransId="{B92B1284-C86C-4F1A-B2FE-597A3A6E880E}" sibTransId="{2A119814-8171-4B87-9A5C-2F13A64A5F3A}"/>
    <dgm:cxn modelId="{DD56D524-027C-4E51-9B49-C165AB933E98}" type="presOf" srcId="{D25459EE-0A70-4FC2-B4E6-4D95E7E22866}" destId="{29167E32-ACBC-46FB-86E1-115DBD657AB0}" srcOrd="0" destOrd="0" presId="urn:microsoft.com/office/officeart/2018/2/layout/IconVerticalSolidList"/>
    <dgm:cxn modelId="{59B402CC-48CF-4188-B878-1F5141911C7B}" type="presOf" srcId="{5C79CC59-9452-415D-9CD9-1BDB2096104A}" destId="{D95E8BAD-7059-400E-A407-408DF243CCF6}" srcOrd="0" destOrd="0" presId="urn:microsoft.com/office/officeart/2018/2/layout/IconVerticalSolidList"/>
    <dgm:cxn modelId="{20601C62-5741-4D45-9592-9F10D00BC4B0}" type="presOf" srcId="{72CBDEA7-48B0-4CA3-BA14-FD4E308BF934}" destId="{613109C9-42DC-42D9-AF57-1BA0C1DDE62D}" srcOrd="0" destOrd="0" presId="urn:microsoft.com/office/officeart/2018/2/layout/IconVerticalSolidList"/>
    <dgm:cxn modelId="{CC9D13B5-E17E-4300-942F-86F99454C6E8}" type="presOf" srcId="{F067286C-801D-4CCF-8DBC-CC8E08EB7060}" destId="{0C5C04F8-F0B5-445D-A3E5-469E99FDE449}" srcOrd="0" destOrd="0" presId="urn:microsoft.com/office/officeart/2018/2/layout/IconVerticalSolidList"/>
    <dgm:cxn modelId="{C127D384-7545-4B5E-9260-E25A133B1EE2}" type="presOf" srcId="{191AEF08-A15A-4214-8BF3-AA99647DF307}" destId="{9F3D1E6A-FD70-48C3-9BD9-5634E2828C16}" srcOrd="0" destOrd="0" presId="urn:microsoft.com/office/officeart/2018/2/layout/IconVerticalSolidList"/>
    <dgm:cxn modelId="{450C918D-0847-4B8E-BE29-581EFEA60BF0}" type="presParOf" srcId="{29167E32-ACBC-46FB-86E1-115DBD657AB0}" destId="{9DBF5DFF-10F2-4399-B5B4-6FB75559C18B}" srcOrd="0" destOrd="0" presId="urn:microsoft.com/office/officeart/2018/2/layout/IconVerticalSolidList"/>
    <dgm:cxn modelId="{79FC4BB1-A278-4FA8-82AA-ACBBC39EFB15}" type="presParOf" srcId="{9DBF5DFF-10F2-4399-B5B4-6FB75559C18B}" destId="{B40A6007-6E4A-4D38-A766-52D6D674E5C0}" srcOrd="0" destOrd="0" presId="urn:microsoft.com/office/officeart/2018/2/layout/IconVerticalSolidList"/>
    <dgm:cxn modelId="{2A58D55D-A81C-4769-9297-CCCE68DFF352}" type="presParOf" srcId="{9DBF5DFF-10F2-4399-B5B4-6FB75559C18B}" destId="{5CDD5721-4A9E-42CD-B2E9-92CFCB4AFAF2}" srcOrd="1" destOrd="0" presId="urn:microsoft.com/office/officeart/2018/2/layout/IconVerticalSolidList"/>
    <dgm:cxn modelId="{867C053E-B25B-4A93-B95D-45EB2B986F2A}" type="presParOf" srcId="{9DBF5DFF-10F2-4399-B5B4-6FB75559C18B}" destId="{8E669201-5FCA-46AA-A721-342DDA574BA8}" srcOrd="2" destOrd="0" presId="urn:microsoft.com/office/officeart/2018/2/layout/IconVerticalSolidList"/>
    <dgm:cxn modelId="{2FA63527-E797-49D7-B5AD-5E2B3762629E}" type="presParOf" srcId="{9DBF5DFF-10F2-4399-B5B4-6FB75559C18B}" destId="{613109C9-42DC-42D9-AF57-1BA0C1DDE62D}" srcOrd="3" destOrd="0" presId="urn:microsoft.com/office/officeart/2018/2/layout/IconVerticalSolidList"/>
    <dgm:cxn modelId="{674696E0-1925-46F4-A6E8-A2DC210ED38F}" type="presParOf" srcId="{29167E32-ACBC-46FB-86E1-115DBD657AB0}" destId="{A19CB0FD-D1DB-4A4B-A05E-12E0F360ADAE}" srcOrd="1" destOrd="0" presId="urn:microsoft.com/office/officeart/2018/2/layout/IconVerticalSolidList"/>
    <dgm:cxn modelId="{029D5D49-3EB0-4708-803F-07D4E04F0E77}" type="presParOf" srcId="{29167E32-ACBC-46FB-86E1-115DBD657AB0}" destId="{3B0C449E-0109-4542-BB94-79F23BCA56C3}" srcOrd="2" destOrd="0" presId="urn:microsoft.com/office/officeart/2018/2/layout/IconVerticalSolidList"/>
    <dgm:cxn modelId="{A5D15E30-7BFC-445F-9FEE-21EC639C3DC8}" type="presParOf" srcId="{3B0C449E-0109-4542-BB94-79F23BCA56C3}" destId="{A3F68F58-8974-4A0E-ACA0-39263D4FD303}" srcOrd="0" destOrd="0" presId="urn:microsoft.com/office/officeart/2018/2/layout/IconVerticalSolidList"/>
    <dgm:cxn modelId="{70339908-98C4-43D6-BA3E-EB45903DF2B4}" type="presParOf" srcId="{3B0C449E-0109-4542-BB94-79F23BCA56C3}" destId="{B8098483-987F-463B-9BF1-BA5E22284A7E}" srcOrd="1" destOrd="0" presId="urn:microsoft.com/office/officeart/2018/2/layout/IconVerticalSolidList"/>
    <dgm:cxn modelId="{1B835C6E-BC1C-46B8-B8AB-8E1625C52B8E}" type="presParOf" srcId="{3B0C449E-0109-4542-BB94-79F23BCA56C3}" destId="{BD4781A1-71DA-43B1-B7EC-AD537F513955}" srcOrd="2" destOrd="0" presId="urn:microsoft.com/office/officeart/2018/2/layout/IconVerticalSolidList"/>
    <dgm:cxn modelId="{069D33B4-B987-41ED-A59B-29C0A640B284}" type="presParOf" srcId="{3B0C449E-0109-4542-BB94-79F23BCA56C3}" destId="{7AFD72CC-6440-4884-BF22-C0754A8DC88C}" srcOrd="3" destOrd="0" presId="urn:microsoft.com/office/officeart/2018/2/layout/IconVerticalSolidList"/>
    <dgm:cxn modelId="{E39E64B8-074B-4481-AF0A-5EE4C18A26B4}" type="presParOf" srcId="{29167E32-ACBC-46FB-86E1-115DBD657AB0}" destId="{19563D37-E4BB-40C9-B138-FA77185C826F}" srcOrd="3" destOrd="0" presId="urn:microsoft.com/office/officeart/2018/2/layout/IconVerticalSolidList"/>
    <dgm:cxn modelId="{B8C3B69E-925F-43B9-ABA8-83440831107D}" type="presParOf" srcId="{29167E32-ACBC-46FB-86E1-115DBD657AB0}" destId="{A38D2A18-842B-4958-B967-42E9EB0C5004}" srcOrd="4" destOrd="0" presId="urn:microsoft.com/office/officeart/2018/2/layout/IconVerticalSolidList"/>
    <dgm:cxn modelId="{F06ADE95-C6D1-4A4A-920F-4C11D6C192FC}" type="presParOf" srcId="{A38D2A18-842B-4958-B967-42E9EB0C5004}" destId="{775D6E6B-16A3-407B-9600-54BFCC7C5EBE}" srcOrd="0" destOrd="0" presId="urn:microsoft.com/office/officeart/2018/2/layout/IconVerticalSolidList"/>
    <dgm:cxn modelId="{7FDEB4D9-BF9C-4B7C-91AC-F558E217D82C}" type="presParOf" srcId="{A38D2A18-842B-4958-B967-42E9EB0C5004}" destId="{42D2FFF3-AEC8-4822-B7D6-C6968CD8FB94}" srcOrd="1" destOrd="0" presId="urn:microsoft.com/office/officeart/2018/2/layout/IconVerticalSolidList"/>
    <dgm:cxn modelId="{7301744E-8D0A-46A7-9232-6211314ACAC1}" type="presParOf" srcId="{A38D2A18-842B-4958-B967-42E9EB0C5004}" destId="{E3A348B6-008D-4291-BC03-B8D76BC5B653}" srcOrd="2" destOrd="0" presId="urn:microsoft.com/office/officeart/2018/2/layout/IconVerticalSolidList"/>
    <dgm:cxn modelId="{2628D3C7-C923-4EAE-89E0-61C0A98C359A}" type="presParOf" srcId="{A38D2A18-842B-4958-B967-42E9EB0C5004}" destId="{D95E8BAD-7059-400E-A407-408DF243CCF6}" srcOrd="3" destOrd="0" presId="urn:microsoft.com/office/officeart/2018/2/layout/IconVerticalSolidList"/>
    <dgm:cxn modelId="{8B078F84-C1EC-404E-85BC-A2A55AFB5094}" type="presParOf" srcId="{29167E32-ACBC-46FB-86E1-115DBD657AB0}" destId="{E8067697-7128-4811-9C3C-372668C527A9}" srcOrd="5" destOrd="0" presId="urn:microsoft.com/office/officeart/2018/2/layout/IconVerticalSolidList"/>
    <dgm:cxn modelId="{D5C28CDC-C859-44B9-A679-F3AD84AED447}" type="presParOf" srcId="{29167E32-ACBC-46FB-86E1-115DBD657AB0}" destId="{754DB854-4286-420B-B420-369A9C40B92F}" srcOrd="6" destOrd="0" presId="urn:microsoft.com/office/officeart/2018/2/layout/IconVerticalSolidList"/>
    <dgm:cxn modelId="{A26251ED-BA35-40A1-A95B-E64C964F9C34}" type="presParOf" srcId="{754DB854-4286-420B-B420-369A9C40B92F}" destId="{BA80A4CF-6C8D-4B70-A90C-C09253F6549A}" srcOrd="0" destOrd="0" presId="urn:microsoft.com/office/officeart/2018/2/layout/IconVerticalSolidList"/>
    <dgm:cxn modelId="{D385DC8E-5D0D-4750-9E4E-D6417158BB4A}" type="presParOf" srcId="{754DB854-4286-420B-B420-369A9C40B92F}" destId="{5B5EBD7F-D89D-4012-A2E3-86FDC87EB4D1}" srcOrd="1" destOrd="0" presId="urn:microsoft.com/office/officeart/2018/2/layout/IconVerticalSolidList"/>
    <dgm:cxn modelId="{45734901-84CD-440C-B96E-9AF775AD7CC4}" type="presParOf" srcId="{754DB854-4286-420B-B420-369A9C40B92F}" destId="{7BBA2C0D-83BF-467B-AF43-30DB50497078}" srcOrd="2" destOrd="0" presId="urn:microsoft.com/office/officeart/2018/2/layout/IconVerticalSolidList"/>
    <dgm:cxn modelId="{19D96DA5-28AE-4BDD-80B4-4BB51F112987}" type="presParOf" srcId="{754DB854-4286-420B-B420-369A9C40B92F}" destId="{0C5C04F8-F0B5-445D-A3E5-469E99FDE449}" srcOrd="3" destOrd="0" presId="urn:microsoft.com/office/officeart/2018/2/layout/IconVerticalSolidList"/>
    <dgm:cxn modelId="{6D69C9B0-1D4E-4B0C-8056-56BBF24A792B}" type="presParOf" srcId="{29167E32-ACBC-46FB-86E1-115DBD657AB0}" destId="{8718EBF5-76E2-4675-B4A7-40E1A30CF274}" srcOrd="7" destOrd="0" presId="urn:microsoft.com/office/officeart/2018/2/layout/IconVerticalSolidList"/>
    <dgm:cxn modelId="{335339CE-61BB-49E2-BCEF-AA35D7584C22}" type="presParOf" srcId="{29167E32-ACBC-46FB-86E1-115DBD657AB0}" destId="{B5FB974B-D09B-493D-AB05-E49FE7F5C4F1}" srcOrd="8" destOrd="0" presId="urn:microsoft.com/office/officeart/2018/2/layout/IconVerticalSolidList"/>
    <dgm:cxn modelId="{18C452CC-6FA3-4496-86C7-F455CAB36D28}" type="presParOf" srcId="{B5FB974B-D09B-493D-AB05-E49FE7F5C4F1}" destId="{7393BB97-1E36-4B99-9034-2B8153E483DA}" srcOrd="0" destOrd="0" presId="urn:microsoft.com/office/officeart/2018/2/layout/IconVerticalSolidList"/>
    <dgm:cxn modelId="{509F8520-DD10-427D-9436-7E32AD1BFD0A}" type="presParOf" srcId="{B5FB974B-D09B-493D-AB05-E49FE7F5C4F1}" destId="{3665ADD5-D925-497C-8864-4EE30CBA045E}" srcOrd="1" destOrd="0" presId="urn:microsoft.com/office/officeart/2018/2/layout/IconVerticalSolidList"/>
    <dgm:cxn modelId="{373B120E-2B62-47B6-91E3-DB0D87AE5CA7}" type="presParOf" srcId="{B5FB974B-D09B-493D-AB05-E49FE7F5C4F1}" destId="{FC5FBAF5-8C80-4FD0-991E-DA475729EAF7}" srcOrd="2" destOrd="0" presId="urn:microsoft.com/office/officeart/2018/2/layout/IconVerticalSolidList"/>
    <dgm:cxn modelId="{347A8C5C-C275-4232-B4F0-933A2B630714}" type="presParOf" srcId="{B5FB974B-D09B-493D-AB05-E49FE7F5C4F1}" destId="{9F3D1E6A-FD70-48C3-9BD9-5634E2828C1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A8EB074-D7CF-48FC-9912-5E91B505D1E3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B893FBCD-5E87-4B5D-97EE-258594821EDD}">
      <dgm:prSet/>
      <dgm:spPr/>
      <dgm:t>
        <a:bodyPr/>
        <a:lstStyle/>
        <a:p>
          <a:r>
            <a:rPr lang="en-US" b="1" i="0"/>
            <a:t>Fast-Drying Sealants</a:t>
          </a:r>
          <a:r>
            <a:rPr lang="en-US" b="0" i="0"/>
            <a:t>: Reduces labor time, balances consistency ("not too goopy/watery").​</a:t>
          </a:r>
          <a:endParaRPr lang="en-US"/>
        </a:p>
      </dgm:t>
    </dgm:pt>
    <dgm:pt modelId="{F86039EC-7F4B-4D1B-AB86-AB77166C84F3}" type="parTrans" cxnId="{BBF4DE2A-5505-4D09-8821-CFB4315F4A4A}">
      <dgm:prSet/>
      <dgm:spPr/>
      <dgm:t>
        <a:bodyPr/>
        <a:lstStyle/>
        <a:p>
          <a:endParaRPr lang="en-US"/>
        </a:p>
      </dgm:t>
    </dgm:pt>
    <dgm:pt modelId="{541F05DB-FF76-41C0-A5C6-5310F65A82C7}" type="sibTrans" cxnId="{BBF4DE2A-5505-4D09-8821-CFB4315F4A4A}">
      <dgm:prSet/>
      <dgm:spPr/>
      <dgm:t>
        <a:bodyPr/>
        <a:lstStyle/>
        <a:p>
          <a:endParaRPr lang="en-US"/>
        </a:p>
      </dgm:t>
    </dgm:pt>
    <dgm:pt modelId="{7998AA73-4C3F-40D3-8246-8E795FD3D5E6}">
      <dgm:prSet/>
      <dgm:spPr/>
      <dgm:t>
        <a:bodyPr/>
        <a:lstStyle/>
        <a:p>
          <a:r>
            <a:rPr lang="en-US" b="1" i="0"/>
            <a:t>Price Sensitivity</a:t>
          </a:r>
          <a:r>
            <a:rPr lang="en-US" b="0" i="0"/>
            <a:t>: Competitive pricing essential; focus on cost-effective quality over competitors.​</a:t>
          </a:r>
          <a:endParaRPr lang="en-US"/>
        </a:p>
      </dgm:t>
    </dgm:pt>
    <dgm:pt modelId="{A0D1F33F-7F6C-4FD0-B8A0-C863DED74E9A}" type="parTrans" cxnId="{139CF6A6-BA9B-42FD-A12E-C032379D4D04}">
      <dgm:prSet/>
      <dgm:spPr/>
      <dgm:t>
        <a:bodyPr/>
        <a:lstStyle/>
        <a:p>
          <a:endParaRPr lang="en-US"/>
        </a:p>
      </dgm:t>
    </dgm:pt>
    <dgm:pt modelId="{25E6A6AC-9CBC-44E8-AEF9-36BDDF5540CB}" type="sibTrans" cxnId="{139CF6A6-BA9B-42FD-A12E-C032379D4D04}">
      <dgm:prSet/>
      <dgm:spPr/>
      <dgm:t>
        <a:bodyPr/>
        <a:lstStyle/>
        <a:p>
          <a:endParaRPr lang="en-US"/>
        </a:p>
      </dgm:t>
    </dgm:pt>
    <dgm:pt modelId="{B8F20A1B-8A58-4BD0-A727-44299CA90B7D}">
      <dgm:prSet/>
      <dgm:spPr/>
      <dgm:t>
        <a:bodyPr/>
        <a:lstStyle/>
        <a:p>
          <a:r>
            <a:rPr lang="en-US" b="1" i="0"/>
            <a:t>Ease of Application</a:t>
          </a:r>
          <a:r>
            <a:rPr lang="en-US" b="0" i="0"/>
            <a:t>: Highlight Green Seam tech for labor-saving, streamlined application.​</a:t>
          </a:r>
          <a:endParaRPr lang="en-US"/>
        </a:p>
      </dgm:t>
    </dgm:pt>
    <dgm:pt modelId="{6E6FBD8D-19C1-4F88-8F0C-870DC5D6D0D0}" type="parTrans" cxnId="{E78ABA8E-D34D-4107-9725-C487811C498D}">
      <dgm:prSet/>
      <dgm:spPr/>
      <dgm:t>
        <a:bodyPr/>
        <a:lstStyle/>
        <a:p>
          <a:endParaRPr lang="en-US"/>
        </a:p>
      </dgm:t>
    </dgm:pt>
    <dgm:pt modelId="{FF27C04E-81CA-45F7-AC87-51C1CDA42AA5}" type="sibTrans" cxnId="{E78ABA8E-D34D-4107-9725-C487811C498D}">
      <dgm:prSet/>
      <dgm:spPr/>
      <dgm:t>
        <a:bodyPr/>
        <a:lstStyle/>
        <a:p>
          <a:endParaRPr lang="en-US"/>
        </a:p>
      </dgm:t>
    </dgm:pt>
    <dgm:pt modelId="{D71F81F7-BDBE-48DB-B2BF-4904A51912E2}">
      <dgm:prSet/>
      <dgm:spPr/>
      <dgm:t>
        <a:bodyPr/>
        <a:lstStyle/>
        <a:p>
          <a:r>
            <a:rPr lang="en-US" b="1" i="0"/>
            <a:t>Environmental Durability</a:t>
          </a:r>
          <a:r>
            <a:rPr lang="en-US" b="0" i="0"/>
            <a:t>: Products withstand heat/humidity; market as standard durability.​</a:t>
          </a:r>
          <a:endParaRPr lang="en-US"/>
        </a:p>
      </dgm:t>
    </dgm:pt>
    <dgm:pt modelId="{8267578C-E2D0-48F6-8ED9-5E35162D979D}" type="parTrans" cxnId="{BE3228AC-BD71-4DBC-8743-6B5B13D1F945}">
      <dgm:prSet/>
      <dgm:spPr/>
      <dgm:t>
        <a:bodyPr/>
        <a:lstStyle/>
        <a:p>
          <a:endParaRPr lang="en-US"/>
        </a:p>
      </dgm:t>
    </dgm:pt>
    <dgm:pt modelId="{72C86F4F-803E-4F35-AE7E-560700274133}" type="sibTrans" cxnId="{BE3228AC-BD71-4DBC-8743-6B5B13D1F945}">
      <dgm:prSet/>
      <dgm:spPr/>
      <dgm:t>
        <a:bodyPr/>
        <a:lstStyle/>
        <a:p>
          <a:endParaRPr lang="en-US"/>
        </a:p>
      </dgm:t>
    </dgm:pt>
    <dgm:pt modelId="{61C22FD6-2B0A-45A8-9E9D-C479BF0D4345}" type="pres">
      <dgm:prSet presAssocID="{CA8EB074-D7CF-48FC-9912-5E91B505D1E3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6C37FC0-F94F-4591-9F49-2979005ADE86}" type="pres">
      <dgm:prSet presAssocID="{B893FBCD-5E87-4B5D-97EE-258594821EDD}" presName="compNode" presStyleCnt="0"/>
      <dgm:spPr/>
    </dgm:pt>
    <dgm:pt modelId="{62653DE6-1B5B-4A1B-BCF7-F2ABA851DB43}" type="pres">
      <dgm:prSet presAssocID="{B893FBCD-5E87-4B5D-97EE-258594821EDD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eal"/>
        </a:ext>
      </dgm:extLst>
    </dgm:pt>
    <dgm:pt modelId="{59C588BE-0FF7-4941-A14F-B92E4F0E4146}" type="pres">
      <dgm:prSet presAssocID="{B893FBCD-5E87-4B5D-97EE-258594821EDD}" presName="spaceRect" presStyleCnt="0"/>
      <dgm:spPr/>
    </dgm:pt>
    <dgm:pt modelId="{B237BD86-9F8D-44A9-B174-529BE9B062E9}" type="pres">
      <dgm:prSet presAssocID="{B893FBCD-5E87-4B5D-97EE-258594821EDD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2C527825-5DA6-4E88-B953-A2C95718827B}" type="pres">
      <dgm:prSet presAssocID="{541F05DB-FF76-41C0-A5C6-5310F65A82C7}" presName="sibTrans" presStyleCnt="0"/>
      <dgm:spPr/>
    </dgm:pt>
    <dgm:pt modelId="{0A48DD2A-1002-4A95-84EE-50514AD99680}" type="pres">
      <dgm:prSet presAssocID="{7998AA73-4C3F-40D3-8246-8E795FD3D5E6}" presName="compNode" presStyleCnt="0"/>
      <dgm:spPr/>
    </dgm:pt>
    <dgm:pt modelId="{D3B88F75-B99C-4C24-9F7A-888CDC36FDB8}" type="pres">
      <dgm:prSet presAssocID="{7998AA73-4C3F-40D3-8246-8E795FD3D5E6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Tag"/>
        </a:ext>
      </dgm:extLst>
    </dgm:pt>
    <dgm:pt modelId="{5EFB1081-98E0-442D-AE47-1A0F2619479D}" type="pres">
      <dgm:prSet presAssocID="{7998AA73-4C3F-40D3-8246-8E795FD3D5E6}" presName="spaceRect" presStyleCnt="0"/>
      <dgm:spPr/>
    </dgm:pt>
    <dgm:pt modelId="{A86AFE8D-C44A-4EB5-8AB4-D29E1415307A}" type="pres">
      <dgm:prSet presAssocID="{7998AA73-4C3F-40D3-8246-8E795FD3D5E6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E9BA46FE-F23A-4760-B465-0345CD2C57E3}" type="pres">
      <dgm:prSet presAssocID="{25E6A6AC-9CBC-44E8-AEF9-36BDDF5540CB}" presName="sibTrans" presStyleCnt="0"/>
      <dgm:spPr/>
    </dgm:pt>
    <dgm:pt modelId="{63465D30-FDB1-4170-A133-A7C48BC06604}" type="pres">
      <dgm:prSet presAssocID="{B8F20A1B-8A58-4BD0-A727-44299CA90B7D}" presName="compNode" presStyleCnt="0"/>
      <dgm:spPr/>
    </dgm:pt>
    <dgm:pt modelId="{C92C40EA-690E-4F46-8678-4241A066E5F6}" type="pres">
      <dgm:prSet presAssocID="{B8F20A1B-8A58-4BD0-A727-44299CA90B7D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Recycle Sign"/>
        </a:ext>
      </dgm:extLst>
    </dgm:pt>
    <dgm:pt modelId="{CC864A6A-C02E-4506-AEBA-0FBCDE8B9698}" type="pres">
      <dgm:prSet presAssocID="{B8F20A1B-8A58-4BD0-A727-44299CA90B7D}" presName="spaceRect" presStyleCnt="0"/>
      <dgm:spPr/>
    </dgm:pt>
    <dgm:pt modelId="{CC2E2205-9AF3-4F48-8D67-18D130A5C3B6}" type="pres">
      <dgm:prSet presAssocID="{B8F20A1B-8A58-4BD0-A727-44299CA90B7D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D8DC962C-6081-4D70-9965-3AE7DBD2A197}" type="pres">
      <dgm:prSet presAssocID="{FF27C04E-81CA-45F7-AC87-51C1CDA42AA5}" presName="sibTrans" presStyleCnt="0"/>
      <dgm:spPr/>
    </dgm:pt>
    <dgm:pt modelId="{C2B064EB-C7C6-4B67-B227-4017C18457D1}" type="pres">
      <dgm:prSet presAssocID="{D71F81F7-BDBE-48DB-B2BF-4904A51912E2}" presName="compNode" presStyleCnt="0"/>
      <dgm:spPr/>
    </dgm:pt>
    <dgm:pt modelId="{EC37713D-85D0-4B8B-B2B1-8B1697719E9C}" type="pres">
      <dgm:prSet presAssocID="{D71F81F7-BDBE-48DB-B2BF-4904A51912E2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Fire"/>
        </a:ext>
      </dgm:extLst>
    </dgm:pt>
    <dgm:pt modelId="{176CBFF9-CB72-422A-BE22-43BD8836D3F1}" type="pres">
      <dgm:prSet presAssocID="{D71F81F7-BDBE-48DB-B2BF-4904A51912E2}" presName="spaceRect" presStyleCnt="0"/>
      <dgm:spPr/>
    </dgm:pt>
    <dgm:pt modelId="{C28B9C99-184F-4B72-8F65-1A6D112C8723}" type="pres">
      <dgm:prSet presAssocID="{D71F81F7-BDBE-48DB-B2BF-4904A51912E2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E18C30-CB65-4D49-A5EB-A23D388282BC}" type="presOf" srcId="{D71F81F7-BDBE-48DB-B2BF-4904A51912E2}" destId="{C28B9C99-184F-4B72-8F65-1A6D112C8723}" srcOrd="0" destOrd="0" presId="urn:microsoft.com/office/officeart/2018/2/layout/IconLabelList"/>
    <dgm:cxn modelId="{9F517142-136D-48F9-B368-4DA5DE1B9B75}" type="presOf" srcId="{7998AA73-4C3F-40D3-8246-8E795FD3D5E6}" destId="{A86AFE8D-C44A-4EB5-8AB4-D29E1415307A}" srcOrd="0" destOrd="0" presId="urn:microsoft.com/office/officeart/2018/2/layout/IconLabelList"/>
    <dgm:cxn modelId="{177BB112-8382-455F-BDD2-7452F303F048}" type="presOf" srcId="{CA8EB074-D7CF-48FC-9912-5E91B505D1E3}" destId="{61C22FD6-2B0A-45A8-9E9D-C479BF0D4345}" srcOrd="0" destOrd="0" presId="urn:microsoft.com/office/officeart/2018/2/layout/IconLabelList"/>
    <dgm:cxn modelId="{139CF6A6-BA9B-42FD-A12E-C032379D4D04}" srcId="{CA8EB074-D7CF-48FC-9912-5E91B505D1E3}" destId="{7998AA73-4C3F-40D3-8246-8E795FD3D5E6}" srcOrd="1" destOrd="0" parTransId="{A0D1F33F-7F6C-4FD0-B8A0-C863DED74E9A}" sibTransId="{25E6A6AC-9CBC-44E8-AEF9-36BDDF5540CB}"/>
    <dgm:cxn modelId="{BE3228AC-BD71-4DBC-8743-6B5B13D1F945}" srcId="{CA8EB074-D7CF-48FC-9912-5E91B505D1E3}" destId="{D71F81F7-BDBE-48DB-B2BF-4904A51912E2}" srcOrd="3" destOrd="0" parTransId="{8267578C-E2D0-48F6-8ED9-5E35162D979D}" sibTransId="{72C86F4F-803E-4F35-AE7E-560700274133}"/>
    <dgm:cxn modelId="{946AFBFB-E17E-4A30-9E59-830D7EBCDAA2}" type="presOf" srcId="{B8F20A1B-8A58-4BD0-A727-44299CA90B7D}" destId="{CC2E2205-9AF3-4F48-8D67-18D130A5C3B6}" srcOrd="0" destOrd="0" presId="urn:microsoft.com/office/officeart/2018/2/layout/IconLabelList"/>
    <dgm:cxn modelId="{E78ABA8E-D34D-4107-9725-C487811C498D}" srcId="{CA8EB074-D7CF-48FC-9912-5E91B505D1E3}" destId="{B8F20A1B-8A58-4BD0-A727-44299CA90B7D}" srcOrd="2" destOrd="0" parTransId="{6E6FBD8D-19C1-4F88-8F0C-870DC5D6D0D0}" sibTransId="{FF27C04E-81CA-45F7-AC87-51C1CDA42AA5}"/>
    <dgm:cxn modelId="{BBF4DE2A-5505-4D09-8821-CFB4315F4A4A}" srcId="{CA8EB074-D7CF-48FC-9912-5E91B505D1E3}" destId="{B893FBCD-5E87-4B5D-97EE-258594821EDD}" srcOrd="0" destOrd="0" parTransId="{F86039EC-7F4B-4D1B-AB86-AB77166C84F3}" sibTransId="{541F05DB-FF76-41C0-A5C6-5310F65A82C7}"/>
    <dgm:cxn modelId="{2582610C-3317-4224-BC78-FED1EF193CD0}" type="presOf" srcId="{B893FBCD-5E87-4B5D-97EE-258594821EDD}" destId="{B237BD86-9F8D-44A9-B174-529BE9B062E9}" srcOrd="0" destOrd="0" presId="urn:microsoft.com/office/officeart/2018/2/layout/IconLabelList"/>
    <dgm:cxn modelId="{EE72F873-007F-42C9-8CF4-BF79541942D4}" type="presParOf" srcId="{61C22FD6-2B0A-45A8-9E9D-C479BF0D4345}" destId="{96C37FC0-F94F-4591-9F49-2979005ADE86}" srcOrd="0" destOrd="0" presId="urn:microsoft.com/office/officeart/2018/2/layout/IconLabelList"/>
    <dgm:cxn modelId="{0D3C3CC1-0519-40F6-85E8-7B3DAE590C6D}" type="presParOf" srcId="{96C37FC0-F94F-4591-9F49-2979005ADE86}" destId="{62653DE6-1B5B-4A1B-BCF7-F2ABA851DB43}" srcOrd="0" destOrd="0" presId="urn:microsoft.com/office/officeart/2018/2/layout/IconLabelList"/>
    <dgm:cxn modelId="{A90626F0-C218-4193-98F3-E09AB8091ABC}" type="presParOf" srcId="{96C37FC0-F94F-4591-9F49-2979005ADE86}" destId="{59C588BE-0FF7-4941-A14F-B92E4F0E4146}" srcOrd="1" destOrd="0" presId="urn:microsoft.com/office/officeart/2018/2/layout/IconLabelList"/>
    <dgm:cxn modelId="{8505DB54-80AF-49D0-BDB4-82642841E566}" type="presParOf" srcId="{96C37FC0-F94F-4591-9F49-2979005ADE86}" destId="{B237BD86-9F8D-44A9-B174-529BE9B062E9}" srcOrd="2" destOrd="0" presId="urn:microsoft.com/office/officeart/2018/2/layout/IconLabelList"/>
    <dgm:cxn modelId="{CD9730A2-FC47-4476-A852-224E2EA7C060}" type="presParOf" srcId="{61C22FD6-2B0A-45A8-9E9D-C479BF0D4345}" destId="{2C527825-5DA6-4E88-B953-A2C95718827B}" srcOrd="1" destOrd="0" presId="urn:microsoft.com/office/officeart/2018/2/layout/IconLabelList"/>
    <dgm:cxn modelId="{2A7E5307-C9B4-4065-B677-0271E3932B17}" type="presParOf" srcId="{61C22FD6-2B0A-45A8-9E9D-C479BF0D4345}" destId="{0A48DD2A-1002-4A95-84EE-50514AD99680}" srcOrd="2" destOrd="0" presId="urn:microsoft.com/office/officeart/2018/2/layout/IconLabelList"/>
    <dgm:cxn modelId="{2F8E76F9-E89A-4F01-BD21-6C7A8F63BED2}" type="presParOf" srcId="{0A48DD2A-1002-4A95-84EE-50514AD99680}" destId="{D3B88F75-B99C-4C24-9F7A-888CDC36FDB8}" srcOrd="0" destOrd="0" presId="urn:microsoft.com/office/officeart/2018/2/layout/IconLabelList"/>
    <dgm:cxn modelId="{D89C6741-F2A2-40E7-BEB0-4040DA498B90}" type="presParOf" srcId="{0A48DD2A-1002-4A95-84EE-50514AD99680}" destId="{5EFB1081-98E0-442D-AE47-1A0F2619479D}" srcOrd="1" destOrd="0" presId="urn:microsoft.com/office/officeart/2018/2/layout/IconLabelList"/>
    <dgm:cxn modelId="{C8F49306-61FA-45AA-8984-19987DD9DE04}" type="presParOf" srcId="{0A48DD2A-1002-4A95-84EE-50514AD99680}" destId="{A86AFE8D-C44A-4EB5-8AB4-D29E1415307A}" srcOrd="2" destOrd="0" presId="urn:microsoft.com/office/officeart/2018/2/layout/IconLabelList"/>
    <dgm:cxn modelId="{BC7F1C14-4F7B-4180-9408-1E48F3DFCFF4}" type="presParOf" srcId="{61C22FD6-2B0A-45A8-9E9D-C479BF0D4345}" destId="{E9BA46FE-F23A-4760-B465-0345CD2C57E3}" srcOrd="3" destOrd="0" presId="urn:microsoft.com/office/officeart/2018/2/layout/IconLabelList"/>
    <dgm:cxn modelId="{D44E04FF-6E5C-4BA0-8169-47B81C022931}" type="presParOf" srcId="{61C22FD6-2B0A-45A8-9E9D-C479BF0D4345}" destId="{63465D30-FDB1-4170-A133-A7C48BC06604}" srcOrd="4" destOrd="0" presId="urn:microsoft.com/office/officeart/2018/2/layout/IconLabelList"/>
    <dgm:cxn modelId="{5B2E0202-6E55-49A0-AF0D-A31EFBD24BCB}" type="presParOf" srcId="{63465D30-FDB1-4170-A133-A7C48BC06604}" destId="{C92C40EA-690E-4F46-8678-4241A066E5F6}" srcOrd="0" destOrd="0" presId="urn:microsoft.com/office/officeart/2018/2/layout/IconLabelList"/>
    <dgm:cxn modelId="{4DB9651F-6CE7-4CBA-BB46-D0B7A2FF19ED}" type="presParOf" srcId="{63465D30-FDB1-4170-A133-A7C48BC06604}" destId="{CC864A6A-C02E-4506-AEBA-0FBCDE8B9698}" srcOrd="1" destOrd="0" presId="urn:microsoft.com/office/officeart/2018/2/layout/IconLabelList"/>
    <dgm:cxn modelId="{E7AFD15D-3271-4683-B691-64BD2461E86D}" type="presParOf" srcId="{63465D30-FDB1-4170-A133-A7C48BC06604}" destId="{CC2E2205-9AF3-4F48-8D67-18D130A5C3B6}" srcOrd="2" destOrd="0" presId="urn:microsoft.com/office/officeart/2018/2/layout/IconLabelList"/>
    <dgm:cxn modelId="{6FFA7D52-D78C-44F2-B379-C998F953837C}" type="presParOf" srcId="{61C22FD6-2B0A-45A8-9E9D-C479BF0D4345}" destId="{D8DC962C-6081-4D70-9965-3AE7DBD2A197}" srcOrd="5" destOrd="0" presId="urn:microsoft.com/office/officeart/2018/2/layout/IconLabelList"/>
    <dgm:cxn modelId="{F206DDB8-8C8B-4877-91F2-44C011EA7D32}" type="presParOf" srcId="{61C22FD6-2B0A-45A8-9E9D-C479BF0D4345}" destId="{C2B064EB-C7C6-4B67-B227-4017C18457D1}" srcOrd="6" destOrd="0" presId="urn:microsoft.com/office/officeart/2018/2/layout/IconLabelList"/>
    <dgm:cxn modelId="{EE8D8B86-2260-45E8-B718-3347C25D67A1}" type="presParOf" srcId="{C2B064EB-C7C6-4B67-B227-4017C18457D1}" destId="{EC37713D-85D0-4B8B-B2B1-8B1697719E9C}" srcOrd="0" destOrd="0" presId="urn:microsoft.com/office/officeart/2018/2/layout/IconLabelList"/>
    <dgm:cxn modelId="{9E9F0EDA-1C22-498B-949B-D978BF89EF6D}" type="presParOf" srcId="{C2B064EB-C7C6-4B67-B227-4017C18457D1}" destId="{176CBFF9-CB72-422A-BE22-43BD8836D3F1}" srcOrd="1" destOrd="0" presId="urn:microsoft.com/office/officeart/2018/2/layout/IconLabelList"/>
    <dgm:cxn modelId="{E94B36A5-29B1-4EFB-9CFA-CBDA97AB7BD8}" type="presParOf" srcId="{C2B064EB-C7C6-4B67-B227-4017C18457D1}" destId="{C28B9C99-184F-4B72-8F65-1A6D112C8723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C33931C-F466-4DA4-AA04-BDF6BA02EF69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coloredtext_colorful1" csCatId="colorful" phldr="1"/>
      <dgm:spPr/>
      <dgm:t>
        <a:bodyPr/>
        <a:lstStyle/>
        <a:p>
          <a:endParaRPr lang="en-US"/>
        </a:p>
      </dgm:t>
    </dgm:pt>
    <dgm:pt modelId="{A38FC4B4-DA2D-41C3-AFF3-8726895960F6}">
      <dgm:prSet/>
      <dgm:spPr/>
      <dgm:t>
        <a:bodyPr/>
        <a:lstStyle/>
        <a:p>
          <a:r>
            <a:rPr lang="en-US" b="1"/>
            <a:t>Standard Products Focus</a:t>
          </a:r>
          <a:r>
            <a:rPr lang="en-US"/>
            <a:t>: Prioritize standard, efficient, and affordable solutions.</a:t>
          </a:r>
        </a:p>
      </dgm:t>
    </dgm:pt>
    <dgm:pt modelId="{B1BE4D19-8C9A-428A-95EA-034CE7B8C631}" type="parTrans" cxnId="{B8EE191F-2E47-45FD-9A1F-2F32BA76B30E}">
      <dgm:prSet/>
      <dgm:spPr/>
      <dgm:t>
        <a:bodyPr/>
        <a:lstStyle/>
        <a:p>
          <a:endParaRPr lang="en-US"/>
        </a:p>
      </dgm:t>
    </dgm:pt>
    <dgm:pt modelId="{E436FC67-4FBA-4848-BC49-1D69EF223515}" type="sibTrans" cxnId="{B8EE191F-2E47-45FD-9A1F-2F32BA76B30E}">
      <dgm:prSet/>
      <dgm:spPr/>
      <dgm:t>
        <a:bodyPr/>
        <a:lstStyle/>
        <a:p>
          <a:endParaRPr lang="en-US"/>
        </a:p>
      </dgm:t>
    </dgm:pt>
    <dgm:pt modelId="{978E0C97-38C9-407C-8DFF-982416D98CCD}">
      <dgm:prSet/>
      <dgm:spPr/>
      <dgm:t>
        <a:bodyPr/>
        <a:lstStyle/>
        <a:p>
          <a:r>
            <a:rPr lang="en-US" b="1"/>
            <a:t>Experiential Marketing</a:t>
          </a:r>
          <a:r>
            <a:rPr lang="en-US"/>
            <a:t>: In-person demos, samples, and videos for contractor engagement.</a:t>
          </a:r>
        </a:p>
      </dgm:t>
    </dgm:pt>
    <dgm:pt modelId="{DD13DEF7-D509-4437-9036-021CE3CA58FF}" type="parTrans" cxnId="{8C406A19-9E92-4125-9015-F11A109C68D3}">
      <dgm:prSet/>
      <dgm:spPr/>
      <dgm:t>
        <a:bodyPr/>
        <a:lstStyle/>
        <a:p>
          <a:endParaRPr lang="en-US"/>
        </a:p>
      </dgm:t>
    </dgm:pt>
    <dgm:pt modelId="{7ED2526A-E476-44BD-8294-D49F3AA4E08A}" type="sibTrans" cxnId="{8C406A19-9E92-4125-9015-F11A109C68D3}">
      <dgm:prSet/>
      <dgm:spPr/>
      <dgm:t>
        <a:bodyPr/>
        <a:lstStyle/>
        <a:p>
          <a:endParaRPr lang="en-US"/>
        </a:p>
      </dgm:t>
    </dgm:pt>
    <dgm:pt modelId="{F4FDCCC0-5E4F-4554-869A-5619FFD22FEA}">
      <dgm:prSet/>
      <dgm:spPr/>
      <dgm:t>
        <a:bodyPr/>
        <a:lstStyle/>
        <a:p>
          <a:r>
            <a:rPr lang="en-US" b="1"/>
            <a:t>Feedback Collection</a:t>
          </a:r>
          <a:r>
            <a:rPr lang="en-US"/>
            <a:t>: Focus on in-person events with web forms as supplementary, incentivized option.</a:t>
          </a:r>
        </a:p>
      </dgm:t>
    </dgm:pt>
    <dgm:pt modelId="{12143400-4A76-4A7E-AA88-11AD5E9C2448}" type="parTrans" cxnId="{82D46876-A513-4099-94CF-7B0321D4F0D8}">
      <dgm:prSet/>
      <dgm:spPr/>
      <dgm:t>
        <a:bodyPr/>
        <a:lstStyle/>
        <a:p>
          <a:endParaRPr lang="en-US"/>
        </a:p>
      </dgm:t>
    </dgm:pt>
    <dgm:pt modelId="{1A6E356F-9AA4-41B4-87CD-820BE829D8D5}" type="sibTrans" cxnId="{82D46876-A513-4099-94CF-7B0321D4F0D8}">
      <dgm:prSet/>
      <dgm:spPr/>
      <dgm:t>
        <a:bodyPr/>
        <a:lstStyle/>
        <a:p>
          <a:endParaRPr lang="en-US"/>
        </a:p>
      </dgm:t>
    </dgm:pt>
    <dgm:pt modelId="{20EAC8AC-D5F3-412F-9A02-4ADAB17886FE}">
      <dgm:prSet/>
      <dgm:spPr/>
      <dgm:t>
        <a:bodyPr/>
        <a:lstStyle/>
        <a:p>
          <a:r>
            <a:rPr lang="en-US" b="1"/>
            <a:t>Brand Recognition</a:t>
          </a:r>
          <a:r>
            <a:rPr lang="en-US"/>
            <a:t>: Emphasize product identifiers (e.g., lid colors) to boost brand recall.</a:t>
          </a:r>
        </a:p>
      </dgm:t>
    </dgm:pt>
    <dgm:pt modelId="{A717A606-DBD2-4E86-9C76-FA330A662C65}" type="parTrans" cxnId="{431B8BBD-B045-45C1-BA39-2B9CE0599AE3}">
      <dgm:prSet/>
      <dgm:spPr/>
      <dgm:t>
        <a:bodyPr/>
        <a:lstStyle/>
        <a:p>
          <a:endParaRPr lang="en-US"/>
        </a:p>
      </dgm:t>
    </dgm:pt>
    <dgm:pt modelId="{851A226E-E44F-4E9F-9A9D-4F1BE2876B80}" type="sibTrans" cxnId="{431B8BBD-B045-45C1-BA39-2B9CE0599AE3}">
      <dgm:prSet/>
      <dgm:spPr/>
      <dgm:t>
        <a:bodyPr/>
        <a:lstStyle/>
        <a:p>
          <a:endParaRPr lang="en-US"/>
        </a:p>
      </dgm:t>
    </dgm:pt>
    <dgm:pt modelId="{AE9A6956-D0E9-4E73-8F3E-2269186ECD17}" type="pres">
      <dgm:prSet presAssocID="{2C33931C-F466-4DA4-AA04-BDF6BA02EF69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6B0C2D1-6396-41F5-8D12-D6CDEC68D9AF}" type="pres">
      <dgm:prSet presAssocID="{2C33931C-F466-4DA4-AA04-BDF6BA02EF69}" presName="container" presStyleCnt="0">
        <dgm:presLayoutVars>
          <dgm:dir/>
          <dgm:resizeHandles val="exact"/>
        </dgm:presLayoutVars>
      </dgm:prSet>
      <dgm:spPr/>
    </dgm:pt>
    <dgm:pt modelId="{2FB399BB-9F61-40B9-88ED-2A0530CC14AF}" type="pres">
      <dgm:prSet presAssocID="{A38FC4B4-DA2D-41C3-AFF3-8726895960F6}" presName="compNode" presStyleCnt="0"/>
      <dgm:spPr/>
    </dgm:pt>
    <dgm:pt modelId="{4C18A0A7-F158-4C50-8411-AA7318D1830D}" type="pres">
      <dgm:prSet presAssocID="{A38FC4B4-DA2D-41C3-AFF3-8726895960F6}" presName="iconBgRect" presStyleLbl="bgShp" presStyleIdx="0" presStyleCnt="4"/>
      <dgm:spPr/>
    </dgm:pt>
    <dgm:pt modelId="{F58D56B4-E8AB-4D0F-9F51-C752640049F0}" type="pres">
      <dgm:prSet presAssocID="{A38FC4B4-DA2D-41C3-AFF3-8726895960F6}" presName="iconRect" presStyleLbl="nod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CA0723A9-E78C-489A-8644-28259E1F5579}" type="pres">
      <dgm:prSet presAssocID="{A38FC4B4-DA2D-41C3-AFF3-8726895960F6}" presName="spaceRect" presStyleCnt="0"/>
      <dgm:spPr/>
    </dgm:pt>
    <dgm:pt modelId="{1B3053C4-33D1-4742-AECD-AC62C71BFDBF}" type="pres">
      <dgm:prSet presAssocID="{A38FC4B4-DA2D-41C3-AFF3-8726895960F6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485B0935-E3AD-4D8E-A9CC-252CC30608E7}" type="pres">
      <dgm:prSet presAssocID="{E436FC67-4FBA-4848-BC49-1D69EF22351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B6ABE64D-8D42-4AC0-88CE-DDF4E62EA814}" type="pres">
      <dgm:prSet presAssocID="{978E0C97-38C9-407C-8DFF-982416D98CCD}" presName="compNode" presStyleCnt="0"/>
      <dgm:spPr/>
    </dgm:pt>
    <dgm:pt modelId="{C21EC8B2-E39A-46CE-AA2E-CB9D4160A636}" type="pres">
      <dgm:prSet presAssocID="{978E0C97-38C9-407C-8DFF-982416D98CCD}" presName="iconBgRect" presStyleLbl="bgShp" presStyleIdx="1" presStyleCnt="4"/>
      <dgm:spPr/>
    </dgm:pt>
    <dgm:pt modelId="{1C44C89C-9CC3-4C7A-B661-6C32FEF36B05}" type="pres">
      <dgm:prSet presAssocID="{978E0C97-38C9-407C-8DFF-982416D98CCD}" presName="iconRect" presStyleLbl="node1" presStyleIdx="1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65408AD5-92B6-4C23-B9E7-0E4AF9F88993}" type="pres">
      <dgm:prSet presAssocID="{978E0C97-38C9-407C-8DFF-982416D98CCD}" presName="spaceRect" presStyleCnt="0"/>
      <dgm:spPr/>
    </dgm:pt>
    <dgm:pt modelId="{46725AE6-299F-4A76-8E27-D89B7349ACBA}" type="pres">
      <dgm:prSet presAssocID="{978E0C97-38C9-407C-8DFF-982416D98CCD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2DEC3332-79FD-44F8-9FBC-BFFF3A970DCA}" type="pres">
      <dgm:prSet presAssocID="{7ED2526A-E476-44BD-8294-D49F3AA4E08A}" presName="sibTrans" presStyleLbl="sibTrans2D1" presStyleIdx="0" presStyleCnt="0"/>
      <dgm:spPr/>
      <dgm:t>
        <a:bodyPr/>
        <a:lstStyle/>
        <a:p>
          <a:endParaRPr lang="en-US"/>
        </a:p>
      </dgm:t>
    </dgm:pt>
    <dgm:pt modelId="{0D78778E-F4C2-489C-9764-A4C125901187}" type="pres">
      <dgm:prSet presAssocID="{F4FDCCC0-5E4F-4554-869A-5619FFD22FEA}" presName="compNode" presStyleCnt="0"/>
      <dgm:spPr/>
    </dgm:pt>
    <dgm:pt modelId="{835E202D-9DBE-42A0-A5F8-702DBB2D1807}" type="pres">
      <dgm:prSet presAssocID="{F4FDCCC0-5E4F-4554-869A-5619FFD22FEA}" presName="iconBgRect" presStyleLbl="bgShp" presStyleIdx="2" presStyleCnt="4"/>
      <dgm:spPr/>
    </dgm:pt>
    <dgm:pt modelId="{0C8815FB-661C-4E45-BA3C-3E0013F4FA12}" type="pres">
      <dgm:prSet presAssocID="{F4FDCCC0-5E4F-4554-869A-5619FFD22FEA}" presName="iconRect" presStyleLbl="node1" presStyleIdx="2" presStyleCnt="4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ustomer Review"/>
        </a:ext>
      </dgm:extLst>
    </dgm:pt>
    <dgm:pt modelId="{E2FE5820-46D5-4E07-AED1-5C2684A0DAA0}" type="pres">
      <dgm:prSet presAssocID="{F4FDCCC0-5E4F-4554-869A-5619FFD22FEA}" presName="spaceRect" presStyleCnt="0"/>
      <dgm:spPr/>
    </dgm:pt>
    <dgm:pt modelId="{A89C3593-A77E-42AD-804F-52584786E6BF}" type="pres">
      <dgm:prSet presAssocID="{F4FDCCC0-5E4F-4554-869A-5619FFD22FEA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615DF40A-1C2F-4EF2-832E-DE499D8778BC}" type="pres">
      <dgm:prSet presAssocID="{1A6E356F-9AA4-41B4-87CD-820BE829D8D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8BA84955-627F-4D76-987A-94008F56851F}" type="pres">
      <dgm:prSet presAssocID="{20EAC8AC-D5F3-412F-9A02-4ADAB17886FE}" presName="compNode" presStyleCnt="0"/>
      <dgm:spPr/>
    </dgm:pt>
    <dgm:pt modelId="{93A67BD9-A01C-413A-9E7D-034A7C8F9DEB}" type="pres">
      <dgm:prSet presAssocID="{20EAC8AC-D5F3-412F-9A02-4ADAB17886FE}" presName="iconBgRect" presStyleLbl="bgShp" presStyleIdx="3" presStyleCnt="4"/>
      <dgm:spPr/>
    </dgm:pt>
    <dgm:pt modelId="{2DDC5B54-C2FE-489A-BE11-C9A924A0F868}" type="pres">
      <dgm:prSet presAssocID="{20EAC8AC-D5F3-412F-9A02-4ADAB17886FE}" presName="iconRect" presStyleLbl="node1" presStyleIdx="3" presStyleCnt="4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arcode"/>
        </a:ext>
      </dgm:extLst>
    </dgm:pt>
    <dgm:pt modelId="{5B573498-0130-4C58-BD03-C80B7E79B527}" type="pres">
      <dgm:prSet presAssocID="{20EAC8AC-D5F3-412F-9A02-4ADAB17886FE}" presName="spaceRect" presStyleCnt="0"/>
      <dgm:spPr/>
    </dgm:pt>
    <dgm:pt modelId="{A05040E4-A756-45C7-8834-7AB39613B012}" type="pres">
      <dgm:prSet presAssocID="{20EAC8AC-D5F3-412F-9A02-4ADAB17886FE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891906C-8AB1-409D-A1B9-BBC31B8C4085}" type="presOf" srcId="{E436FC67-4FBA-4848-BC49-1D69EF223515}" destId="{485B0935-E3AD-4D8E-A9CC-252CC30608E7}" srcOrd="0" destOrd="0" presId="urn:microsoft.com/office/officeart/2018/2/layout/IconCircleList"/>
    <dgm:cxn modelId="{768BFCFB-32DA-452F-ACB2-2258253A37CC}" type="presOf" srcId="{A38FC4B4-DA2D-41C3-AFF3-8726895960F6}" destId="{1B3053C4-33D1-4742-AECD-AC62C71BFDBF}" srcOrd="0" destOrd="0" presId="urn:microsoft.com/office/officeart/2018/2/layout/IconCircleList"/>
    <dgm:cxn modelId="{0BB17280-5F06-418B-BA02-ECE3BD87893C}" type="presOf" srcId="{978E0C97-38C9-407C-8DFF-982416D98CCD}" destId="{46725AE6-299F-4A76-8E27-D89B7349ACBA}" srcOrd="0" destOrd="0" presId="urn:microsoft.com/office/officeart/2018/2/layout/IconCircleList"/>
    <dgm:cxn modelId="{2B9108AC-2B2E-4545-BF52-0CA776AE4EA3}" type="presOf" srcId="{F4FDCCC0-5E4F-4554-869A-5619FFD22FEA}" destId="{A89C3593-A77E-42AD-804F-52584786E6BF}" srcOrd="0" destOrd="0" presId="urn:microsoft.com/office/officeart/2018/2/layout/IconCircleList"/>
    <dgm:cxn modelId="{080B398B-7AC8-40AC-9C65-D51039A9CD42}" type="presOf" srcId="{2C33931C-F466-4DA4-AA04-BDF6BA02EF69}" destId="{AE9A6956-D0E9-4E73-8F3E-2269186ECD17}" srcOrd="0" destOrd="0" presId="urn:microsoft.com/office/officeart/2018/2/layout/IconCircleList"/>
    <dgm:cxn modelId="{525BF8CA-D2F1-4BAA-AA9C-68C1160C6101}" type="presOf" srcId="{7ED2526A-E476-44BD-8294-D49F3AA4E08A}" destId="{2DEC3332-79FD-44F8-9FBC-BFFF3A970DCA}" srcOrd="0" destOrd="0" presId="urn:microsoft.com/office/officeart/2018/2/layout/IconCircleList"/>
    <dgm:cxn modelId="{AFCDE2E9-4CF6-455E-8EC2-46B8716FB057}" type="presOf" srcId="{1A6E356F-9AA4-41B4-87CD-820BE829D8D5}" destId="{615DF40A-1C2F-4EF2-832E-DE499D8778BC}" srcOrd="0" destOrd="0" presId="urn:microsoft.com/office/officeart/2018/2/layout/IconCircleList"/>
    <dgm:cxn modelId="{82D46876-A513-4099-94CF-7B0321D4F0D8}" srcId="{2C33931C-F466-4DA4-AA04-BDF6BA02EF69}" destId="{F4FDCCC0-5E4F-4554-869A-5619FFD22FEA}" srcOrd="2" destOrd="0" parTransId="{12143400-4A76-4A7E-AA88-11AD5E9C2448}" sibTransId="{1A6E356F-9AA4-41B4-87CD-820BE829D8D5}"/>
    <dgm:cxn modelId="{B8EE191F-2E47-45FD-9A1F-2F32BA76B30E}" srcId="{2C33931C-F466-4DA4-AA04-BDF6BA02EF69}" destId="{A38FC4B4-DA2D-41C3-AFF3-8726895960F6}" srcOrd="0" destOrd="0" parTransId="{B1BE4D19-8C9A-428A-95EA-034CE7B8C631}" sibTransId="{E436FC67-4FBA-4848-BC49-1D69EF223515}"/>
    <dgm:cxn modelId="{8C406A19-9E92-4125-9015-F11A109C68D3}" srcId="{2C33931C-F466-4DA4-AA04-BDF6BA02EF69}" destId="{978E0C97-38C9-407C-8DFF-982416D98CCD}" srcOrd="1" destOrd="0" parTransId="{DD13DEF7-D509-4437-9036-021CE3CA58FF}" sibTransId="{7ED2526A-E476-44BD-8294-D49F3AA4E08A}"/>
    <dgm:cxn modelId="{95439B9B-6ABB-4F90-A129-FEEEAFBD0960}" type="presOf" srcId="{20EAC8AC-D5F3-412F-9A02-4ADAB17886FE}" destId="{A05040E4-A756-45C7-8834-7AB39613B012}" srcOrd="0" destOrd="0" presId="urn:microsoft.com/office/officeart/2018/2/layout/IconCircleList"/>
    <dgm:cxn modelId="{431B8BBD-B045-45C1-BA39-2B9CE0599AE3}" srcId="{2C33931C-F466-4DA4-AA04-BDF6BA02EF69}" destId="{20EAC8AC-D5F3-412F-9A02-4ADAB17886FE}" srcOrd="3" destOrd="0" parTransId="{A717A606-DBD2-4E86-9C76-FA330A662C65}" sibTransId="{851A226E-E44F-4E9F-9A9D-4F1BE2876B80}"/>
    <dgm:cxn modelId="{7F07646E-5440-4FCC-A94C-0764CAB600FA}" type="presParOf" srcId="{AE9A6956-D0E9-4E73-8F3E-2269186ECD17}" destId="{F6B0C2D1-6396-41F5-8D12-D6CDEC68D9AF}" srcOrd="0" destOrd="0" presId="urn:microsoft.com/office/officeart/2018/2/layout/IconCircleList"/>
    <dgm:cxn modelId="{F1707EE4-6182-4252-9443-48FD341ECE4E}" type="presParOf" srcId="{F6B0C2D1-6396-41F5-8D12-D6CDEC68D9AF}" destId="{2FB399BB-9F61-40B9-88ED-2A0530CC14AF}" srcOrd="0" destOrd="0" presId="urn:microsoft.com/office/officeart/2018/2/layout/IconCircleList"/>
    <dgm:cxn modelId="{B8DE3174-C362-47DF-B283-BB2B80B1C2CA}" type="presParOf" srcId="{2FB399BB-9F61-40B9-88ED-2A0530CC14AF}" destId="{4C18A0A7-F158-4C50-8411-AA7318D1830D}" srcOrd="0" destOrd="0" presId="urn:microsoft.com/office/officeart/2018/2/layout/IconCircleList"/>
    <dgm:cxn modelId="{3F543CFB-AFC6-41F9-8FB9-91C75FE992BE}" type="presParOf" srcId="{2FB399BB-9F61-40B9-88ED-2A0530CC14AF}" destId="{F58D56B4-E8AB-4D0F-9F51-C752640049F0}" srcOrd="1" destOrd="0" presId="urn:microsoft.com/office/officeart/2018/2/layout/IconCircleList"/>
    <dgm:cxn modelId="{C7504D6F-4751-449C-A42C-1A93B46F45E6}" type="presParOf" srcId="{2FB399BB-9F61-40B9-88ED-2A0530CC14AF}" destId="{CA0723A9-E78C-489A-8644-28259E1F5579}" srcOrd="2" destOrd="0" presId="urn:microsoft.com/office/officeart/2018/2/layout/IconCircleList"/>
    <dgm:cxn modelId="{294AA12F-04F6-4D2B-9A3D-7E4AB37EAF93}" type="presParOf" srcId="{2FB399BB-9F61-40B9-88ED-2A0530CC14AF}" destId="{1B3053C4-33D1-4742-AECD-AC62C71BFDBF}" srcOrd="3" destOrd="0" presId="urn:microsoft.com/office/officeart/2018/2/layout/IconCircleList"/>
    <dgm:cxn modelId="{FB6C5D3C-2B73-4E7A-A745-EE217B3C27D4}" type="presParOf" srcId="{F6B0C2D1-6396-41F5-8D12-D6CDEC68D9AF}" destId="{485B0935-E3AD-4D8E-A9CC-252CC30608E7}" srcOrd="1" destOrd="0" presId="urn:microsoft.com/office/officeart/2018/2/layout/IconCircleList"/>
    <dgm:cxn modelId="{0E91EEC6-D2C7-4643-8CA5-F91D65198CE2}" type="presParOf" srcId="{F6B0C2D1-6396-41F5-8D12-D6CDEC68D9AF}" destId="{B6ABE64D-8D42-4AC0-88CE-DDF4E62EA814}" srcOrd="2" destOrd="0" presId="urn:microsoft.com/office/officeart/2018/2/layout/IconCircleList"/>
    <dgm:cxn modelId="{D3F6FA2D-7B37-4538-AE34-A185128F1D19}" type="presParOf" srcId="{B6ABE64D-8D42-4AC0-88CE-DDF4E62EA814}" destId="{C21EC8B2-E39A-46CE-AA2E-CB9D4160A636}" srcOrd="0" destOrd="0" presId="urn:microsoft.com/office/officeart/2018/2/layout/IconCircleList"/>
    <dgm:cxn modelId="{B5AEF200-A45E-4785-8050-AD5FB82A9E5E}" type="presParOf" srcId="{B6ABE64D-8D42-4AC0-88CE-DDF4E62EA814}" destId="{1C44C89C-9CC3-4C7A-B661-6C32FEF36B05}" srcOrd="1" destOrd="0" presId="urn:microsoft.com/office/officeart/2018/2/layout/IconCircleList"/>
    <dgm:cxn modelId="{FCFB1FF8-8FA1-4DD5-96CC-9182582E27BA}" type="presParOf" srcId="{B6ABE64D-8D42-4AC0-88CE-DDF4E62EA814}" destId="{65408AD5-92B6-4C23-B9E7-0E4AF9F88993}" srcOrd="2" destOrd="0" presId="urn:microsoft.com/office/officeart/2018/2/layout/IconCircleList"/>
    <dgm:cxn modelId="{B5BB7C4B-5AE7-4272-8EBA-29B0D05F5F71}" type="presParOf" srcId="{B6ABE64D-8D42-4AC0-88CE-DDF4E62EA814}" destId="{46725AE6-299F-4A76-8E27-D89B7349ACBA}" srcOrd="3" destOrd="0" presId="urn:microsoft.com/office/officeart/2018/2/layout/IconCircleList"/>
    <dgm:cxn modelId="{CEA2F01F-220A-42D6-BB10-1A08EC8D4F5C}" type="presParOf" srcId="{F6B0C2D1-6396-41F5-8D12-D6CDEC68D9AF}" destId="{2DEC3332-79FD-44F8-9FBC-BFFF3A970DCA}" srcOrd="3" destOrd="0" presId="urn:microsoft.com/office/officeart/2018/2/layout/IconCircleList"/>
    <dgm:cxn modelId="{2B525A02-F57E-4088-B021-7B4FC421D0E1}" type="presParOf" srcId="{F6B0C2D1-6396-41F5-8D12-D6CDEC68D9AF}" destId="{0D78778E-F4C2-489C-9764-A4C125901187}" srcOrd="4" destOrd="0" presId="urn:microsoft.com/office/officeart/2018/2/layout/IconCircleList"/>
    <dgm:cxn modelId="{9C7AA3E6-F735-4F4A-B888-C280948F1866}" type="presParOf" srcId="{0D78778E-F4C2-489C-9764-A4C125901187}" destId="{835E202D-9DBE-42A0-A5F8-702DBB2D1807}" srcOrd="0" destOrd="0" presId="urn:microsoft.com/office/officeart/2018/2/layout/IconCircleList"/>
    <dgm:cxn modelId="{F18E6233-E752-4778-9FEB-BDE0E23CAB46}" type="presParOf" srcId="{0D78778E-F4C2-489C-9764-A4C125901187}" destId="{0C8815FB-661C-4E45-BA3C-3E0013F4FA12}" srcOrd="1" destOrd="0" presId="urn:microsoft.com/office/officeart/2018/2/layout/IconCircleList"/>
    <dgm:cxn modelId="{75F7942B-D238-4CD0-8405-820203384099}" type="presParOf" srcId="{0D78778E-F4C2-489C-9764-A4C125901187}" destId="{E2FE5820-46D5-4E07-AED1-5C2684A0DAA0}" srcOrd="2" destOrd="0" presId="urn:microsoft.com/office/officeart/2018/2/layout/IconCircleList"/>
    <dgm:cxn modelId="{92F2C52A-DEC3-4105-BDFB-25294428E7A5}" type="presParOf" srcId="{0D78778E-F4C2-489C-9764-A4C125901187}" destId="{A89C3593-A77E-42AD-804F-52584786E6BF}" srcOrd="3" destOrd="0" presId="urn:microsoft.com/office/officeart/2018/2/layout/IconCircleList"/>
    <dgm:cxn modelId="{02848251-A0A3-4A4F-97C3-0EF963B2A1DA}" type="presParOf" srcId="{F6B0C2D1-6396-41F5-8D12-D6CDEC68D9AF}" destId="{615DF40A-1C2F-4EF2-832E-DE499D8778BC}" srcOrd="5" destOrd="0" presId="urn:microsoft.com/office/officeart/2018/2/layout/IconCircleList"/>
    <dgm:cxn modelId="{DCAC3EF6-B785-4440-9850-F327F16E75FD}" type="presParOf" srcId="{F6B0C2D1-6396-41F5-8D12-D6CDEC68D9AF}" destId="{8BA84955-627F-4D76-987A-94008F56851F}" srcOrd="6" destOrd="0" presId="urn:microsoft.com/office/officeart/2018/2/layout/IconCircleList"/>
    <dgm:cxn modelId="{320AB75A-7FE5-4F5C-93A9-5040A7AA8F54}" type="presParOf" srcId="{8BA84955-627F-4D76-987A-94008F56851F}" destId="{93A67BD9-A01C-413A-9E7D-034A7C8F9DEB}" srcOrd="0" destOrd="0" presId="urn:microsoft.com/office/officeart/2018/2/layout/IconCircleList"/>
    <dgm:cxn modelId="{820E6B3A-CCF2-43E8-ACB6-A88987888B21}" type="presParOf" srcId="{8BA84955-627F-4D76-987A-94008F56851F}" destId="{2DDC5B54-C2FE-489A-BE11-C9A924A0F868}" srcOrd="1" destOrd="0" presId="urn:microsoft.com/office/officeart/2018/2/layout/IconCircleList"/>
    <dgm:cxn modelId="{4CB62E7C-29A1-4F94-BF46-0988F9388902}" type="presParOf" srcId="{8BA84955-627F-4D76-987A-94008F56851F}" destId="{5B573498-0130-4C58-BD03-C80B7E79B527}" srcOrd="2" destOrd="0" presId="urn:microsoft.com/office/officeart/2018/2/layout/IconCircleList"/>
    <dgm:cxn modelId="{1168B15E-AC66-49E2-95DD-8C3056C6CFE4}" type="presParOf" srcId="{8BA84955-627F-4D76-987A-94008F56851F}" destId="{A05040E4-A756-45C7-8834-7AB39613B012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BFAF620-9447-45E5-8296-AA1926941070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64F6BF2C-9F3A-4318-B116-F7D79200833A}">
      <dgm:prSet/>
      <dgm:spPr/>
      <dgm:t>
        <a:bodyPr/>
        <a:lstStyle/>
        <a:p>
          <a:r>
            <a:rPr lang="en-US" b="1"/>
            <a:t>Rising Demand for Water-Based Sealants</a:t>
          </a:r>
          <a:r>
            <a:rPr lang="en-US"/>
            <a:t>: water-based sealant solutions are free from harmful VOCs</a:t>
          </a:r>
        </a:p>
      </dgm:t>
    </dgm:pt>
    <dgm:pt modelId="{A58FCC09-F2F5-4D2D-AFB0-41608A09A5BC}" type="parTrans" cxnId="{0266673A-5F09-4057-A844-B6B2D6664D80}">
      <dgm:prSet/>
      <dgm:spPr/>
      <dgm:t>
        <a:bodyPr/>
        <a:lstStyle/>
        <a:p>
          <a:endParaRPr lang="en-US"/>
        </a:p>
      </dgm:t>
    </dgm:pt>
    <dgm:pt modelId="{43DC071E-3D0B-4CCC-A015-8F78F1747B16}" type="sibTrans" cxnId="{0266673A-5F09-4057-A844-B6B2D6664D80}">
      <dgm:prSet/>
      <dgm:spPr/>
      <dgm:t>
        <a:bodyPr/>
        <a:lstStyle/>
        <a:p>
          <a:endParaRPr lang="en-US"/>
        </a:p>
      </dgm:t>
    </dgm:pt>
    <dgm:pt modelId="{D7957B99-1F6B-42B5-B4FF-1E9BBB14C134}">
      <dgm:prSet/>
      <dgm:spPr/>
      <dgm:t>
        <a:bodyPr/>
        <a:lstStyle/>
        <a:p>
          <a:r>
            <a:rPr lang="en-US" b="1"/>
            <a:t>LEED Certification Compliance</a:t>
          </a:r>
          <a:r>
            <a:rPr lang="en-US"/>
            <a:t>: The increasing requirements for LEED certification are pushing companies towards Non-VOC and water-based solutions</a:t>
          </a:r>
        </a:p>
      </dgm:t>
    </dgm:pt>
    <dgm:pt modelId="{73E6754E-1FDD-4E12-81C1-CB080C92AC21}" type="parTrans" cxnId="{AB5BB222-6428-4EAF-B566-B05651D15BEB}">
      <dgm:prSet/>
      <dgm:spPr/>
      <dgm:t>
        <a:bodyPr/>
        <a:lstStyle/>
        <a:p>
          <a:endParaRPr lang="en-US"/>
        </a:p>
      </dgm:t>
    </dgm:pt>
    <dgm:pt modelId="{33029AC7-4CB5-4F88-8DF4-13EF4DB76DA3}" type="sibTrans" cxnId="{AB5BB222-6428-4EAF-B566-B05651D15BEB}">
      <dgm:prSet/>
      <dgm:spPr/>
      <dgm:t>
        <a:bodyPr/>
        <a:lstStyle/>
        <a:p>
          <a:endParaRPr lang="en-US"/>
        </a:p>
      </dgm:t>
    </dgm:pt>
    <dgm:pt modelId="{AC683826-C9CA-4FD0-9D22-FF2631615EB0}" type="pres">
      <dgm:prSet presAssocID="{EBFAF620-9447-45E5-8296-AA1926941070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45017B-3FEA-4738-8D70-0400052818EA}" type="pres">
      <dgm:prSet presAssocID="{EBFAF620-9447-45E5-8296-AA1926941070}" presName="container" presStyleCnt="0">
        <dgm:presLayoutVars>
          <dgm:dir/>
          <dgm:resizeHandles val="exact"/>
        </dgm:presLayoutVars>
      </dgm:prSet>
      <dgm:spPr/>
    </dgm:pt>
    <dgm:pt modelId="{2337A8ED-38FD-411E-B8BD-ABB59E1B17CA}" type="pres">
      <dgm:prSet presAssocID="{64F6BF2C-9F3A-4318-B116-F7D79200833A}" presName="compNode" presStyleCnt="0"/>
      <dgm:spPr/>
    </dgm:pt>
    <dgm:pt modelId="{A7E4FF12-E4BC-4B1A-AD1F-4E890F92A7E6}" type="pres">
      <dgm:prSet presAssocID="{64F6BF2C-9F3A-4318-B116-F7D79200833A}" presName="iconBgRect" presStyleLbl="bgShp" presStyleIdx="0" presStyleCnt="2"/>
      <dgm:spPr/>
    </dgm:pt>
    <dgm:pt modelId="{1124D200-58CE-43FE-975D-DD8959AFF5F2}" type="pres">
      <dgm:prSet presAssocID="{64F6BF2C-9F3A-4318-B116-F7D79200833A}" presName="iconRect" presStyleLbl="node1" presStyleIdx="0" presStyleCnt="2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eal"/>
        </a:ext>
      </dgm:extLst>
    </dgm:pt>
    <dgm:pt modelId="{DD53A351-C217-40F4-9C64-C99799FEF501}" type="pres">
      <dgm:prSet presAssocID="{64F6BF2C-9F3A-4318-B116-F7D79200833A}" presName="spaceRect" presStyleCnt="0"/>
      <dgm:spPr/>
    </dgm:pt>
    <dgm:pt modelId="{F94DA0B8-AD65-46DF-9811-A189BF49C8C8}" type="pres">
      <dgm:prSet presAssocID="{64F6BF2C-9F3A-4318-B116-F7D79200833A}" presName="textRect" presStyleLbl="revTx" presStyleIdx="0" presStyleCnt="2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73395829-10AD-4B72-9EB6-62D9D8318372}" type="pres">
      <dgm:prSet presAssocID="{43DC071E-3D0B-4CCC-A015-8F78F1747B16}" presName="sibTrans" presStyleLbl="sibTrans2D1" presStyleIdx="0" presStyleCnt="0"/>
      <dgm:spPr/>
      <dgm:t>
        <a:bodyPr/>
        <a:lstStyle/>
        <a:p>
          <a:endParaRPr lang="en-US"/>
        </a:p>
      </dgm:t>
    </dgm:pt>
    <dgm:pt modelId="{6D0B0480-8227-4DE3-B9B1-D8E059062292}" type="pres">
      <dgm:prSet presAssocID="{D7957B99-1F6B-42B5-B4FF-1E9BBB14C134}" presName="compNode" presStyleCnt="0"/>
      <dgm:spPr/>
    </dgm:pt>
    <dgm:pt modelId="{DF983018-7996-49E4-9C75-4A1679A46B8C}" type="pres">
      <dgm:prSet presAssocID="{D7957B99-1F6B-42B5-B4FF-1E9BBB14C134}" presName="iconBgRect" presStyleLbl="bgShp" presStyleIdx="1" presStyleCnt="2"/>
      <dgm:spPr/>
    </dgm:pt>
    <dgm:pt modelId="{E865563C-9CD0-4CF1-91D9-AFBF70EB7F09}" type="pres">
      <dgm:prSet presAssocID="{D7957B99-1F6B-42B5-B4FF-1E9BBB14C134}" presName="iconRect" presStyleLbl="node1" presStyleIdx="1" presStyleCnt="2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cientist"/>
        </a:ext>
      </dgm:extLst>
    </dgm:pt>
    <dgm:pt modelId="{122E4CE0-78FE-49CD-9B7D-AE3BCF5F407C}" type="pres">
      <dgm:prSet presAssocID="{D7957B99-1F6B-42B5-B4FF-1E9BBB14C134}" presName="spaceRect" presStyleCnt="0"/>
      <dgm:spPr/>
    </dgm:pt>
    <dgm:pt modelId="{8AFD5BD0-5127-47E9-9327-068A9D159E2F}" type="pres">
      <dgm:prSet presAssocID="{D7957B99-1F6B-42B5-B4FF-1E9BBB14C134}" presName="textRect" presStyleLbl="revTx" presStyleIdx="1" presStyleCnt="2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5BB222-6428-4EAF-B566-B05651D15BEB}" srcId="{EBFAF620-9447-45E5-8296-AA1926941070}" destId="{D7957B99-1F6B-42B5-B4FF-1E9BBB14C134}" srcOrd="1" destOrd="0" parTransId="{73E6754E-1FDD-4E12-81C1-CB080C92AC21}" sibTransId="{33029AC7-4CB5-4F88-8DF4-13EF4DB76DA3}"/>
    <dgm:cxn modelId="{0E56A76E-831B-4C42-92FE-C28E4F649872}" type="presOf" srcId="{43DC071E-3D0B-4CCC-A015-8F78F1747B16}" destId="{73395829-10AD-4B72-9EB6-62D9D8318372}" srcOrd="0" destOrd="0" presId="urn:microsoft.com/office/officeart/2018/2/layout/IconCircleList"/>
    <dgm:cxn modelId="{C2BED2C0-E0F3-4BF2-828D-73C3173BD47B}" type="presOf" srcId="{EBFAF620-9447-45E5-8296-AA1926941070}" destId="{AC683826-C9CA-4FD0-9D22-FF2631615EB0}" srcOrd="0" destOrd="0" presId="urn:microsoft.com/office/officeart/2018/2/layout/IconCircleList"/>
    <dgm:cxn modelId="{06F8869F-A193-4C68-AB71-3E8FCD81C767}" type="presOf" srcId="{64F6BF2C-9F3A-4318-B116-F7D79200833A}" destId="{F94DA0B8-AD65-46DF-9811-A189BF49C8C8}" srcOrd="0" destOrd="0" presId="urn:microsoft.com/office/officeart/2018/2/layout/IconCircleList"/>
    <dgm:cxn modelId="{7BBB1C67-E146-4367-8EDF-B4823D26D03A}" type="presOf" srcId="{D7957B99-1F6B-42B5-B4FF-1E9BBB14C134}" destId="{8AFD5BD0-5127-47E9-9327-068A9D159E2F}" srcOrd="0" destOrd="0" presId="urn:microsoft.com/office/officeart/2018/2/layout/IconCircleList"/>
    <dgm:cxn modelId="{0266673A-5F09-4057-A844-B6B2D6664D80}" srcId="{EBFAF620-9447-45E5-8296-AA1926941070}" destId="{64F6BF2C-9F3A-4318-B116-F7D79200833A}" srcOrd="0" destOrd="0" parTransId="{A58FCC09-F2F5-4D2D-AFB0-41608A09A5BC}" sibTransId="{43DC071E-3D0B-4CCC-A015-8F78F1747B16}"/>
    <dgm:cxn modelId="{115F3995-9DCD-4C20-8D93-6E8825102447}" type="presParOf" srcId="{AC683826-C9CA-4FD0-9D22-FF2631615EB0}" destId="{7145017B-3FEA-4738-8D70-0400052818EA}" srcOrd="0" destOrd="0" presId="urn:microsoft.com/office/officeart/2018/2/layout/IconCircleList"/>
    <dgm:cxn modelId="{E453010A-2EAF-414A-A975-C3699E874E1B}" type="presParOf" srcId="{7145017B-3FEA-4738-8D70-0400052818EA}" destId="{2337A8ED-38FD-411E-B8BD-ABB59E1B17CA}" srcOrd="0" destOrd="0" presId="urn:microsoft.com/office/officeart/2018/2/layout/IconCircleList"/>
    <dgm:cxn modelId="{9CD2DA30-5C10-4DBB-83BB-7E3DF97685C0}" type="presParOf" srcId="{2337A8ED-38FD-411E-B8BD-ABB59E1B17CA}" destId="{A7E4FF12-E4BC-4B1A-AD1F-4E890F92A7E6}" srcOrd="0" destOrd="0" presId="urn:microsoft.com/office/officeart/2018/2/layout/IconCircleList"/>
    <dgm:cxn modelId="{8EB95F1B-0131-4007-BFEC-8D5E656A7FA7}" type="presParOf" srcId="{2337A8ED-38FD-411E-B8BD-ABB59E1B17CA}" destId="{1124D200-58CE-43FE-975D-DD8959AFF5F2}" srcOrd="1" destOrd="0" presId="urn:microsoft.com/office/officeart/2018/2/layout/IconCircleList"/>
    <dgm:cxn modelId="{2669D815-817B-43CD-9017-AF6912D7649E}" type="presParOf" srcId="{2337A8ED-38FD-411E-B8BD-ABB59E1B17CA}" destId="{DD53A351-C217-40F4-9C64-C99799FEF501}" srcOrd="2" destOrd="0" presId="urn:microsoft.com/office/officeart/2018/2/layout/IconCircleList"/>
    <dgm:cxn modelId="{D171B2B5-1E0E-49D3-BEB8-6A94E531D2A6}" type="presParOf" srcId="{2337A8ED-38FD-411E-B8BD-ABB59E1B17CA}" destId="{F94DA0B8-AD65-46DF-9811-A189BF49C8C8}" srcOrd="3" destOrd="0" presId="urn:microsoft.com/office/officeart/2018/2/layout/IconCircleList"/>
    <dgm:cxn modelId="{4481B6ED-7D30-4D59-8B61-F8E9EDC58AE4}" type="presParOf" srcId="{7145017B-3FEA-4738-8D70-0400052818EA}" destId="{73395829-10AD-4B72-9EB6-62D9D8318372}" srcOrd="1" destOrd="0" presId="urn:microsoft.com/office/officeart/2018/2/layout/IconCircleList"/>
    <dgm:cxn modelId="{0E32FA42-DFCD-4EC7-A0DB-EDA908AB8821}" type="presParOf" srcId="{7145017B-3FEA-4738-8D70-0400052818EA}" destId="{6D0B0480-8227-4DE3-B9B1-D8E059062292}" srcOrd="2" destOrd="0" presId="urn:microsoft.com/office/officeart/2018/2/layout/IconCircleList"/>
    <dgm:cxn modelId="{E0C5E88B-9FF1-4EAE-BBFA-3AFD815C556F}" type="presParOf" srcId="{6D0B0480-8227-4DE3-B9B1-D8E059062292}" destId="{DF983018-7996-49E4-9C75-4A1679A46B8C}" srcOrd="0" destOrd="0" presId="urn:microsoft.com/office/officeart/2018/2/layout/IconCircleList"/>
    <dgm:cxn modelId="{FAF648CF-3110-48E3-9491-BB8E058C9B3B}" type="presParOf" srcId="{6D0B0480-8227-4DE3-B9B1-D8E059062292}" destId="{E865563C-9CD0-4CF1-91D9-AFBF70EB7F09}" srcOrd="1" destOrd="0" presId="urn:microsoft.com/office/officeart/2018/2/layout/IconCircleList"/>
    <dgm:cxn modelId="{70B558BA-25C6-4534-9F8B-E4DE4ED4E880}" type="presParOf" srcId="{6D0B0480-8227-4DE3-B9B1-D8E059062292}" destId="{122E4CE0-78FE-49CD-9B7D-AE3BCF5F407C}" srcOrd="2" destOrd="0" presId="urn:microsoft.com/office/officeart/2018/2/layout/IconCircleList"/>
    <dgm:cxn modelId="{5DE3BC8F-6859-4A75-BD23-3E7B3FAB6399}" type="presParOf" srcId="{6D0B0480-8227-4DE3-B9B1-D8E059062292}" destId="{8AFD5BD0-5127-47E9-9327-068A9D159E2F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BFAF620-9447-45E5-8296-AA1926941070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64F6BF2C-9F3A-4318-B116-F7D79200833A}">
      <dgm:prSet/>
      <dgm:spPr/>
      <dgm:t>
        <a:bodyPr/>
        <a:lstStyle/>
        <a:p>
          <a:r>
            <a:rPr lang="en-US" b="1"/>
            <a:t>Rising Demand for Water-Based Sealants</a:t>
          </a:r>
          <a:r>
            <a:rPr lang="en-US"/>
            <a:t>: water-based sealant solutions are free from harmful VOCs</a:t>
          </a:r>
        </a:p>
      </dgm:t>
    </dgm:pt>
    <dgm:pt modelId="{A58FCC09-F2F5-4D2D-AFB0-41608A09A5BC}" type="parTrans" cxnId="{0266673A-5F09-4057-A844-B6B2D6664D80}">
      <dgm:prSet/>
      <dgm:spPr/>
      <dgm:t>
        <a:bodyPr/>
        <a:lstStyle/>
        <a:p>
          <a:endParaRPr lang="en-US"/>
        </a:p>
      </dgm:t>
    </dgm:pt>
    <dgm:pt modelId="{43DC071E-3D0B-4CCC-A015-8F78F1747B16}" type="sibTrans" cxnId="{0266673A-5F09-4057-A844-B6B2D6664D80}">
      <dgm:prSet/>
      <dgm:spPr/>
      <dgm:t>
        <a:bodyPr/>
        <a:lstStyle/>
        <a:p>
          <a:endParaRPr lang="en-US"/>
        </a:p>
      </dgm:t>
    </dgm:pt>
    <dgm:pt modelId="{D7957B99-1F6B-42B5-B4FF-1E9BBB14C134}">
      <dgm:prSet/>
      <dgm:spPr/>
      <dgm:t>
        <a:bodyPr/>
        <a:lstStyle/>
        <a:p>
          <a:r>
            <a:rPr lang="en-US" b="1"/>
            <a:t>LEED Certification Compliance</a:t>
          </a:r>
          <a:r>
            <a:rPr lang="en-US"/>
            <a:t>: The increasing requirements for LEED certification are pushing companies towards Non-VOC and water-based solutions</a:t>
          </a:r>
        </a:p>
      </dgm:t>
    </dgm:pt>
    <dgm:pt modelId="{73E6754E-1FDD-4E12-81C1-CB080C92AC21}" type="parTrans" cxnId="{AB5BB222-6428-4EAF-B566-B05651D15BEB}">
      <dgm:prSet/>
      <dgm:spPr/>
      <dgm:t>
        <a:bodyPr/>
        <a:lstStyle/>
        <a:p>
          <a:endParaRPr lang="en-US"/>
        </a:p>
      </dgm:t>
    </dgm:pt>
    <dgm:pt modelId="{33029AC7-4CB5-4F88-8DF4-13EF4DB76DA3}" type="sibTrans" cxnId="{AB5BB222-6428-4EAF-B566-B05651D15BEB}">
      <dgm:prSet/>
      <dgm:spPr/>
      <dgm:t>
        <a:bodyPr/>
        <a:lstStyle/>
        <a:p>
          <a:endParaRPr lang="en-US"/>
        </a:p>
      </dgm:t>
    </dgm:pt>
    <dgm:pt modelId="{AC683826-C9CA-4FD0-9D22-FF2631615EB0}" type="pres">
      <dgm:prSet presAssocID="{EBFAF620-9447-45E5-8296-AA1926941070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45017B-3FEA-4738-8D70-0400052818EA}" type="pres">
      <dgm:prSet presAssocID="{EBFAF620-9447-45E5-8296-AA1926941070}" presName="container" presStyleCnt="0">
        <dgm:presLayoutVars>
          <dgm:dir/>
          <dgm:resizeHandles val="exact"/>
        </dgm:presLayoutVars>
      </dgm:prSet>
      <dgm:spPr/>
    </dgm:pt>
    <dgm:pt modelId="{2337A8ED-38FD-411E-B8BD-ABB59E1B17CA}" type="pres">
      <dgm:prSet presAssocID="{64F6BF2C-9F3A-4318-B116-F7D79200833A}" presName="compNode" presStyleCnt="0"/>
      <dgm:spPr/>
    </dgm:pt>
    <dgm:pt modelId="{A7E4FF12-E4BC-4B1A-AD1F-4E890F92A7E6}" type="pres">
      <dgm:prSet presAssocID="{64F6BF2C-9F3A-4318-B116-F7D79200833A}" presName="iconBgRect" presStyleLbl="bgShp" presStyleIdx="0" presStyleCnt="2"/>
      <dgm:spPr/>
    </dgm:pt>
    <dgm:pt modelId="{1124D200-58CE-43FE-975D-DD8959AFF5F2}" type="pres">
      <dgm:prSet presAssocID="{64F6BF2C-9F3A-4318-B116-F7D79200833A}" presName="iconRect" presStyleLbl="node1" presStyleIdx="0" presStyleCnt="2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eal"/>
        </a:ext>
      </dgm:extLst>
    </dgm:pt>
    <dgm:pt modelId="{DD53A351-C217-40F4-9C64-C99799FEF501}" type="pres">
      <dgm:prSet presAssocID="{64F6BF2C-9F3A-4318-B116-F7D79200833A}" presName="spaceRect" presStyleCnt="0"/>
      <dgm:spPr/>
    </dgm:pt>
    <dgm:pt modelId="{F94DA0B8-AD65-46DF-9811-A189BF49C8C8}" type="pres">
      <dgm:prSet presAssocID="{64F6BF2C-9F3A-4318-B116-F7D79200833A}" presName="textRect" presStyleLbl="revTx" presStyleIdx="0" presStyleCnt="2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73395829-10AD-4B72-9EB6-62D9D8318372}" type="pres">
      <dgm:prSet presAssocID="{43DC071E-3D0B-4CCC-A015-8F78F1747B16}" presName="sibTrans" presStyleLbl="sibTrans2D1" presStyleIdx="0" presStyleCnt="0"/>
      <dgm:spPr/>
      <dgm:t>
        <a:bodyPr/>
        <a:lstStyle/>
        <a:p>
          <a:endParaRPr lang="en-US"/>
        </a:p>
      </dgm:t>
    </dgm:pt>
    <dgm:pt modelId="{6D0B0480-8227-4DE3-B9B1-D8E059062292}" type="pres">
      <dgm:prSet presAssocID="{D7957B99-1F6B-42B5-B4FF-1E9BBB14C134}" presName="compNode" presStyleCnt="0"/>
      <dgm:spPr/>
    </dgm:pt>
    <dgm:pt modelId="{DF983018-7996-49E4-9C75-4A1679A46B8C}" type="pres">
      <dgm:prSet presAssocID="{D7957B99-1F6B-42B5-B4FF-1E9BBB14C134}" presName="iconBgRect" presStyleLbl="bgShp" presStyleIdx="1" presStyleCnt="2"/>
      <dgm:spPr/>
    </dgm:pt>
    <dgm:pt modelId="{E865563C-9CD0-4CF1-91D9-AFBF70EB7F09}" type="pres">
      <dgm:prSet presAssocID="{D7957B99-1F6B-42B5-B4FF-1E9BBB14C134}" presName="iconRect" presStyleLbl="node1" presStyleIdx="1" presStyleCnt="2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cientist"/>
        </a:ext>
      </dgm:extLst>
    </dgm:pt>
    <dgm:pt modelId="{122E4CE0-78FE-49CD-9B7D-AE3BCF5F407C}" type="pres">
      <dgm:prSet presAssocID="{D7957B99-1F6B-42B5-B4FF-1E9BBB14C134}" presName="spaceRect" presStyleCnt="0"/>
      <dgm:spPr/>
    </dgm:pt>
    <dgm:pt modelId="{8AFD5BD0-5127-47E9-9327-068A9D159E2F}" type="pres">
      <dgm:prSet presAssocID="{D7957B99-1F6B-42B5-B4FF-1E9BBB14C134}" presName="textRect" presStyleLbl="revTx" presStyleIdx="1" presStyleCnt="2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5BB222-6428-4EAF-B566-B05651D15BEB}" srcId="{EBFAF620-9447-45E5-8296-AA1926941070}" destId="{D7957B99-1F6B-42B5-B4FF-1E9BBB14C134}" srcOrd="1" destOrd="0" parTransId="{73E6754E-1FDD-4E12-81C1-CB080C92AC21}" sibTransId="{33029AC7-4CB5-4F88-8DF4-13EF4DB76DA3}"/>
    <dgm:cxn modelId="{0E56A76E-831B-4C42-92FE-C28E4F649872}" type="presOf" srcId="{43DC071E-3D0B-4CCC-A015-8F78F1747B16}" destId="{73395829-10AD-4B72-9EB6-62D9D8318372}" srcOrd="0" destOrd="0" presId="urn:microsoft.com/office/officeart/2018/2/layout/IconCircleList"/>
    <dgm:cxn modelId="{C2BED2C0-E0F3-4BF2-828D-73C3173BD47B}" type="presOf" srcId="{EBFAF620-9447-45E5-8296-AA1926941070}" destId="{AC683826-C9CA-4FD0-9D22-FF2631615EB0}" srcOrd="0" destOrd="0" presId="urn:microsoft.com/office/officeart/2018/2/layout/IconCircleList"/>
    <dgm:cxn modelId="{06F8869F-A193-4C68-AB71-3E8FCD81C767}" type="presOf" srcId="{64F6BF2C-9F3A-4318-B116-F7D79200833A}" destId="{F94DA0B8-AD65-46DF-9811-A189BF49C8C8}" srcOrd="0" destOrd="0" presId="urn:microsoft.com/office/officeart/2018/2/layout/IconCircleList"/>
    <dgm:cxn modelId="{7BBB1C67-E146-4367-8EDF-B4823D26D03A}" type="presOf" srcId="{D7957B99-1F6B-42B5-B4FF-1E9BBB14C134}" destId="{8AFD5BD0-5127-47E9-9327-068A9D159E2F}" srcOrd="0" destOrd="0" presId="urn:microsoft.com/office/officeart/2018/2/layout/IconCircleList"/>
    <dgm:cxn modelId="{0266673A-5F09-4057-A844-B6B2D6664D80}" srcId="{EBFAF620-9447-45E5-8296-AA1926941070}" destId="{64F6BF2C-9F3A-4318-B116-F7D79200833A}" srcOrd="0" destOrd="0" parTransId="{A58FCC09-F2F5-4D2D-AFB0-41608A09A5BC}" sibTransId="{43DC071E-3D0B-4CCC-A015-8F78F1747B16}"/>
    <dgm:cxn modelId="{115F3995-9DCD-4C20-8D93-6E8825102447}" type="presParOf" srcId="{AC683826-C9CA-4FD0-9D22-FF2631615EB0}" destId="{7145017B-3FEA-4738-8D70-0400052818EA}" srcOrd="0" destOrd="0" presId="urn:microsoft.com/office/officeart/2018/2/layout/IconCircleList"/>
    <dgm:cxn modelId="{E453010A-2EAF-414A-A975-C3699E874E1B}" type="presParOf" srcId="{7145017B-3FEA-4738-8D70-0400052818EA}" destId="{2337A8ED-38FD-411E-B8BD-ABB59E1B17CA}" srcOrd="0" destOrd="0" presId="urn:microsoft.com/office/officeart/2018/2/layout/IconCircleList"/>
    <dgm:cxn modelId="{9CD2DA30-5C10-4DBB-83BB-7E3DF97685C0}" type="presParOf" srcId="{2337A8ED-38FD-411E-B8BD-ABB59E1B17CA}" destId="{A7E4FF12-E4BC-4B1A-AD1F-4E890F92A7E6}" srcOrd="0" destOrd="0" presId="urn:microsoft.com/office/officeart/2018/2/layout/IconCircleList"/>
    <dgm:cxn modelId="{8EB95F1B-0131-4007-BFEC-8D5E656A7FA7}" type="presParOf" srcId="{2337A8ED-38FD-411E-B8BD-ABB59E1B17CA}" destId="{1124D200-58CE-43FE-975D-DD8959AFF5F2}" srcOrd="1" destOrd="0" presId="urn:microsoft.com/office/officeart/2018/2/layout/IconCircleList"/>
    <dgm:cxn modelId="{2669D815-817B-43CD-9017-AF6912D7649E}" type="presParOf" srcId="{2337A8ED-38FD-411E-B8BD-ABB59E1B17CA}" destId="{DD53A351-C217-40F4-9C64-C99799FEF501}" srcOrd="2" destOrd="0" presId="urn:microsoft.com/office/officeart/2018/2/layout/IconCircleList"/>
    <dgm:cxn modelId="{D171B2B5-1E0E-49D3-BEB8-6A94E531D2A6}" type="presParOf" srcId="{2337A8ED-38FD-411E-B8BD-ABB59E1B17CA}" destId="{F94DA0B8-AD65-46DF-9811-A189BF49C8C8}" srcOrd="3" destOrd="0" presId="urn:microsoft.com/office/officeart/2018/2/layout/IconCircleList"/>
    <dgm:cxn modelId="{4481B6ED-7D30-4D59-8B61-F8E9EDC58AE4}" type="presParOf" srcId="{7145017B-3FEA-4738-8D70-0400052818EA}" destId="{73395829-10AD-4B72-9EB6-62D9D8318372}" srcOrd="1" destOrd="0" presId="urn:microsoft.com/office/officeart/2018/2/layout/IconCircleList"/>
    <dgm:cxn modelId="{0E32FA42-DFCD-4EC7-A0DB-EDA908AB8821}" type="presParOf" srcId="{7145017B-3FEA-4738-8D70-0400052818EA}" destId="{6D0B0480-8227-4DE3-B9B1-D8E059062292}" srcOrd="2" destOrd="0" presId="urn:microsoft.com/office/officeart/2018/2/layout/IconCircleList"/>
    <dgm:cxn modelId="{E0C5E88B-9FF1-4EAE-BBFA-3AFD815C556F}" type="presParOf" srcId="{6D0B0480-8227-4DE3-B9B1-D8E059062292}" destId="{DF983018-7996-49E4-9C75-4A1679A46B8C}" srcOrd="0" destOrd="0" presId="urn:microsoft.com/office/officeart/2018/2/layout/IconCircleList"/>
    <dgm:cxn modelId="{FAF648CF-3110-48E3-9491-BB8E058C9B3B}" type="presParOf" srcId="{6D0B0480-8227-4DE3-B9B1-D8E059062292}" destId="{E865563C-9CD0-4CF1-91D9-AFBF70EB7F09}" srcOrd="1" destOrd="0" presId="urn:microsoft.com/office/officeart/2018/2/layout/IconCircleList"/>
    <dgm:cxn modelId="{70B558BA-25C6-4534-9F8B-E4DE4ED4E880}" type="presParOf" srcId="{6D0B0480-8227-4DE3-B9B1-D8E059062292}" destId="{122E4CE0-78FE-49CD-9B7D-AE3BCF5F407C}" srcOrd="2" destOrd="0" presId="urn:microsoft.com/office/officeart/2018/2/layout/IconCircleList"/>
    <dgm:cxn modelId="{5DE3BC8F-6859-4A75-BD23-3E7B3FAB6399}" type="presParOf" srcId="{6D0B0480-8227-4DE3-B9B1-D8E059062292}" destId="{8AFD5BD0-5127-47E9-9327-068A9D159E2F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DFF6C38-309D-41E9-8AC5-962603EBB9A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F7F85F87-EA6C-4C85-AE44-399DA906C04A}">
      <dgm:prSet/>
      <dgm:spPr/>
      <dgm:t>
        <a:bodyPr/>
        <a:lstStyle/>
        <a:p>
          <a:r>
            <a:rPr lang="en-US"/>
            <a:t>Enhances customer insights to capture valuable data on specific preferences</a:t>
          </a:r>
        </a:p>
      </dgm:t>
    </dgm:pt>
    <dgm:pt modelId="{71E6110F-163C-4CBE-A7A0-499132CE4D3B}" type="parTrans" cxnId="{1A622AF2-5723-43A9-B758-75B9580C188A}">
      <dgm:prSet/>
      <dgm:spPr/>
      <dgm:t>
        <a:bodyPr/>
        <a:lstStyle/>
        <a:p>
          <a:endParaRPr lang="en-US"/>
        </a:p>
      </dgm:t>
    </dgm:pt>
    <dgm:pt modelId="{1E145FCF-442E-49FA-81AE-A43139A761DB}" type="sibTrans" cxnId="{1A622AF2-5723-43A9-B758-75B9580C188A}">
      <dgm:prSet/>
      <dgm:spPr/>
      <dgm:t>
        <a:bodyPr/>
        <a:lstStyle/>
        <a:p>
          <a:endParaRPr lang="en-US"/>
        </a:p>
      </dgm:t>
    </dgm:pt>
    <dgm:pt modelId="{6A86BB8D-376B-4BA0-B491-02CB14246B72}">
      <dgm:prSet/>
      <dgm:spPr/>
      <dgm:t>
        <a:bodyPr/>
        <a:lstStyle/>
        <a:p>
          <a:r>
            <a:rPr lang="en-US"/>
            <a:t>Improves customer experience by giving a sense of personalization, tailored to specific needs</a:t>
          </a:r>
        </a:p>
      </dgm:t>
    </dgm:pt>
    <dgm:pt modelId="{CF5FA6F5-4C4E-4A50-A30A-0AAFDAFDDBE8}" type="parTrans" cxnId="{6359021B-122B-4AB3-BA78-4F3F4587F504}">
      <dgm:prSet/>
      <dgm:spPr/>
      <dgm:t>
        <a:bodyPr/>
        <a:lstStyle/>
        <a:p>
          <a:endParaRPr lang="en-US"/>
        </a:p>
      </dgm:t>
    </dgm:pt>
    <dgm:pt modelId="{E348FC42-5E5C-42FD-AEEE-E2C1FC7B280A}" type="sibTrans" cxnId="{6359021B-122B-4AB3-BA78-4F3F4587F504}">
      <dgm:prSet/>
      <dgm:spPr/>
      <dgm:t>
        <a:bodyPr/>
        <a:lstStyle/>
        <a:p>
          <a:endParaRPr lang="en-US"/>
        </a:p>
      </dgm:t>
    </dgm:pt>
    <dgm:pt modelId="{E0EE1DE6-8B39-468E-9498-9323C05ADABC}">
      <dgm:prSet/>
      <dgm:spPr/>
      <dgm:t>
        <a:bodyPr/>
        <a:lstStyle/>
        <a:p>
          <a:r>
            <a:rPr lang="en-US"/>
            <a:t>Provides a strategic advantage over competitors by offering a forward-thinking and customer-centric solution</a:t>
          </a:r>
        </a:p>
      </dgm:t>
    </dgm:pt>
    <dgm:pt modelId="{0BCF85FD-0CDF-4776-B316-6982D5E05A98}" type="parTrans" cxnId="{A2CACB7F-697E-4C23-B23B-549169DED52D}">
      <dgm:prSet/>
      <dgm:spPr/>
      <dgm:t>
        <a:bodyPr/>
        <a:lstStyle/>
        <a:p>
          <a:endParaRPr lang="en-US"/>
        </a:p>
      </dgm:t>
    </dgm:pt>
    <dgm:pt modelId="{ADE26BCF-7B1C-4AEC-BFEA-16A5164A3BE5}" type="sibTrans" cxnId="{A2CACB7F-697E-4C23-B23B-549169DED52D}">
      <dgm:prSet/>
      <dgm:spPr/>
      <dgm:t>
        <a:bodyPr/>
        <a:lstStyle/>
        <a:p>
          <a:endParaRPr lang="en-US"/>
        </a:p>
      </dgm:t>
    </dgm:pt>
    <dgm:pt modelId="{231D276A-33F8-4439-A0B3-B338D68BCE17}">
      <dgm:prSet/>
      <dgm:spPr/>
      <dgm:t>
        <a:bodyPr/>
        <a:lstStyle/>
        <a:p>
          <a:r>
            <a:rPr lang="en-US"/>
            <a:t>Builds a database of customer preferences over-time that tracks market trends guiding future product development</a:t>
          </a:r>
        </a:p>
      </dgm:t>
    </dgm:pt>
    <dgm:pt modelId="{0C2BFC8E-7B98-4755-A35D-45C3972AC666}" type="parTrans" cxnId="{0DB863EA-FF0A-4482-A290-4CCA8D3E56F5}">
      <dgm:prSet/>
      <dgm:spPr/>
      <dgm:t>
        <a:bodyPr/>
        <a:lstStyle/>
        <a:p>
          <a:endParaRPr lang="en-US"/>
        </a:p>
      </dgm:t>
    </dgm:pt>
    <dgm:pt modelId="{5C76280F-A547-4FA5-B569-73FC11664ED5}" type="sibTrans" cxnId="{0DB863EA-FF0A-4482-A290-4CCA8D3E56F5}">
      <dgm:prSet/>
      <dgm:spPr/>
      <dgm:t>
        <a:bodyPr/>
        <a:lstStyle/>
        <a:p>
          <a:endParaRPr lang="en-US"/>
        </a:p>
      </dgm:t>
    </dgm:pt>
    <dgm:pt modelId="{B617E9D7-D531-44FD-A1C6-36003F1ED060}">
      <dgm:prSet/>
      <dgm:spPr/>
      <dgm:t>
        <a:bodyPr/>
        <a:lstStyle/>
        <a:p>
          <a:r>
            <a:rPr lang="en-US"/>
            <a:t>Streamlines the sales process by reducing formulation validation time</a:t>
          </a:r>
        </a:p>
      </dgm:t>
    </dgm:pt>
    <dgm:pt modelId="{DAEDCEAB-9AC9-45A2-9C48-09643D5E660C}" type="parTrans" cxnId="{753310D7-6B88-4AD4-9C2F-191C5316D498}">
      <dgm:prSet/>
      <dgm:spPr/>
      <dgm:t>
        <a:bodyPr/>
        <a:lstStyle/>
        <a:p>
          <a:endParaRPr lang="en-US"/>
        </a:p>
      </dgm:t>
    </dgm:pt>
    <dgm:pt modelId="{84D64642-B754-4315-B2E0-AE0DB4516AB9}" type="sibTrans" cxnId="{753310D7-6B88-4AD4-9C2F-191C5316D498}">
      <dgm:prSet/>
      <dgm:spPr/>
      <dgm:t>
        <a:bodyPr/>
        <a:lstStyle/>
        <a:p>
          <a:endParaRPr lang="en-US"/>
        </a:p>
      </dgm:t>
    </dgm:pt>
    <dgm:pt modelId="{B9BB6DCF-1094-4E0B-B1A5-F8973FB25D1A}" type="pres">
      <dgm:prSet presAssocID="{7DFF6C38-309D-41E9-8AC5-962603EBB9A1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0C4B35-A794-4910-A297-337062D39ED2}" type="pres">
      <dgm:prSet presAssocID="{F7F85F87-EA6C-4C85-AE44-399DA906C04A}" presName="compNode" presStyleCnt="0"/>
      <dgm:spPr/>
    </dgm:pt>
    <dgm:pt modelId="{2ADE2F40-7855-4095-9C66-560F1E17FA09}" type="pres">
      <dgm:prSet presAssocID="{F7F85F87-EA6C-4C85-AE44-399DA906C04A}" presName="bgRect" presStyleLbl="bgShp" presStyleIdx="0" presStyleCnt="5"/>
      <dgm:spPr/>
    </dgm:pt>
    <dgm:pt modelId="{B74FCE76-C401-4F44-ACB3-0226EFFE1855}" type="pres">
      <dgm:prSet presAssocID="{F7F85F87-EA6C-4C85-AE44-399DA906C04A}" presName="iconRect" presStyleLbl="nod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E5F21922-A75E-444B-B39D-1B872CBAFCA8}" type="pres">
      <dgm:prSet presAssocID="{F7F85F87-EA6C-4C85-AE44-399DA906C04A}" presName="spaceRect" presStyleCnt="0"/>
      <dgm:spPr/>
    </dgm:pt>
    <dgm:pt modelId="{28BE10B4-D1E3-4D89-BE70-4BDA39883432}" type="pres">
      <dgm:prSet presAssocID="{F7F85F87-EA6C-4C85-AE44-399DA906C04A}" presName="parTx" presStyleLbl="revTx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45672B5-72FD-451F-9C25-A6F37B519C4F}" type="pres">
      <dgm:prSet presAssocID="{1E145FCF-442E-49FA-81AE-A43139A761DB}" presName="sibTrans" presStyleCnt="0"/>
      <dgm:spPr/>
    </dgm:pt>
    <dgm:pt modelId="{1ECAC436-15AD-42B5-88FF-637335BA2A48}" type="pres">
      <dgm:prSet presAssocID="{6A86BB8D-376B-4BA0-B491-02CB14246B72}" presName="compNode" presStyleCnt="0"/>
      <dgm:spPr/>
    </dgm:pt>
    <dgm:pt modelId="{7E5F7892-5F9A-4832-AF05-7547C0EC6654}" type="pres">
      <dgm:prSet presAssocID="{6A86BB8D-376B-4BA0-B491-02CB14246B72}" presName="bgRect" presStyleLbl="bgShp" presStyleIdx="1" presStyleCnt="5"/>
      <dgm:spPr/>
    </dgm:pt>
    <dgm:pt modelId="{AD438C47-026B-4187-9692-7B1ADB007DC0}" type="pres">
      <dgm:prSet presAssocID="{6A86BB8D-376B-4BA0-B491-02CB14246B72}" presName="iconRect" presStyleLbl="node1" presStyleIdx="1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7051580-AC22-4CFC-95FD-26A35AC5A623}" type="pres">
      <dgm:prSet presAssocID="{6A86BB8D-376B-4BA0-B491-02CB14246B72}" presName="spaceRect" presStyleCnt="0"/>
      <dgm:spPr/>
    </dgm:pt>
    <dgm:pt modelId="{65F7F835-8291-46EC-91FF-163A68B63C9F}" type="pres">
      <dgm:prSet presAssocID="{6A86BB8D-376B-4BA0-B491-02CB14246B72}" presName="parTx" presStyleLbl="revTx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4F558C2-BA40-44C9-95D8-9A424F761690}" type="pres">
      <dgm:prSet presAssocID="{E348FC42-5E5C-42FD-AEEE-E2C1FC7B280A}" presName="sibTrans" presStyleCnt="0"/>
      <dgm:spPr/>
    </dgm:pt>
    <dgm:pt modelId="{A1B092C5-AF79-465F-B8C1-1E2105281FC6}" type="pres">
      <dgm:prSet presAssocID="{E0EE1DE6-8B39-468E-9498-9323C05ADABC}" presName="compNode" presStyleCnt="0"/>
      <dgm:spPr/>
    </dgm:pt>
    <dgm:pt modelId="{99DB1767-7D81-4958-89D6-9E12FCA61AFA}" type="pres">
      <dgm:prSet presAssocID="{E0EE1DE6-8B39-468E-9498-9323C05ADABC}" presName="bgRect" presStyleLbl="bgShp" presStyleIdx="2" presStyleCnt="5"/>
      <dgm:spPr/>
    </dgm:pt>
    <dgm:pt modelId="{DBDBE751-16C5-4D7D-8C80-9435D353D0A9}" type="pres">
      <dgm:prSet presAssocID="{E0EE1DE6-8B39-468E-9498-9323C05ADABC}" presName="iconRect" presStyleLbl="node1" presStyleIdx="2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013734A4-BB15-4482-B696-BA48A57B0178}" type="pres">
      <dgm:prSet presAssocID="{E0EE1DE6-8B39-468E-9498-9323C05ADABC}" presName="spaceRect" presStyleCnt="0"/>
      <dgm:spPr/>
    </dgm:pt>
    <dgm:pt modelId="{77A552B8-33CB-4B61-BC7C-A3EDB5225FAA}" type="pres">
      <dgm:prSet presAssocID="{E0EE1DE6-8B39-468E-9498-9323C05ADABC}" presName="parTx" presStyleLbl="revTx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9808ABA-9D3B-4B8A-9003-E84728B10761}" type="pres">
      <dgm:prSet presAssocID="{ADE26BCF-7B1C-4AEC-BFEA-16A5164A3BE5}" presName="sibTrans" presStyleCnt="0"/>
      <dgm:spPr/>
    </dgm:pt>
    <dgm:pt modelId="{D5D67AC4-F38E-4A15-85A2-D74BAF53473D}" type="pres">
      <dgm:prSet presAssocID="{231D276A-33F8-4439-A0B3-B338D68BCE17}" presName="compNode" presStyleCnt="0"/>
      <dgm:spPr/>
    </dgm:pt>
    <dgm:pt modelId="{A3EB9725-B887-4965-9CCE-8F48D41EFD67}" type="pres">
      <dgm:prSet presAssocID="{231D276A-33F8-4439-A0B3-B338D68BCE17}" presName="bgRect" presStyleLbl="bgShp" presStyleIdx="3" presStyleCnt="5"/>
      <dgm:spPr/>
    </dgm:pt>
    <dgm:pt modelId="{A0A7C51A-4AC9-4688-9D3D-12EBA3905F33}" type="pres">
      <dgm:prSet presAssocID="{231D276A-33F8-4439-A0B3-B338D68BCE17}" presName="iconRect" presStyleLbl="node1" presStyleIdx="3" presStyleCnt="5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32DD44B7-21EA-4B20-A7D7-E8678CC42577}" type="pres">
      <dgm:prSet presAssocID="{231D276A-33F8-4439-A0B3-B338D68BCE17}" presName="spaceRect" presStyleCnt="0"/>
      <dgm:spPr/>
    </dgm:pt>
    <dgm:pt modelId="{B31847F4-AA8B-40F0-A071-4FC797C53F25}" type="pres">
      <dgm:prSet presAssocID="{231D276A-33F8-4439-A0B3-B338D68BCE17}" presName="parTx" presStyleLbl="revTx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09BD596-2CA4-4B4D-A97C-3906A13E4FDD}" type="pres">
      <dgm:prSet presAssocID="{5C76280F-A547-4FA5-B569-73FC11664ED5}" presName="sibTrans" presStyleCnt="0"/>
      <dgm:spPr/>
    </dgm:pt>
    <dgm:pt modelId="{9B225F69-F7E0-4EBF-95DA-956F22E4C809}" type="pres">
      <dgm:prSet presAssocID="{B617E9D7-D531-44FD-A1C6-36003F1ED060}" presName="compNode" presStyleCnt="0"/>
      <dgm:spPr/>
    </dgm:pt>
    <dgm:pt modelId="{71D9720B-673D-4467-841E-71B027AF30E3}" type="pres">
      <dgm:prSet presAssocID="{B617E9D7-D531-44FD-A1C6-36003F1ED060}" presName="bgRect" presStyleLbl="bgShp" presStyleIdx="4" presStyleCnt="5"/>
      <dgm:spPr/>
    </dgm:pt>
    <dgm:pt modelId="{5E92548D-C2F2-4DA2-B73B-5DDD81311531}" type="pres">
      <dgm:prSet presAssocID="{B617E9D7-D531-44FD-A1C6-36003F1ED060}" presName="iconRect" presStyleLbl="node1" presStyleIdx="4" presStyleCnt="5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E9AB31AB-05DC-46F9-806C-4D578BF25257}" type="pres">
      <dgm:prSet presAssocID="{B617E9D7-D531-44FD-A1C6-36003F1ED060}" presName="spaceRect" presStyleCnt="0"/>
      <dgm:spPr/>
    </dgm:pt>
    <dgm:pt modelId="{0D5F4E0E-5B01-46EC-B4ED-198C62829174}" type="pres">
      <dgm:prSet presAssocID="{B617E9D7-D531-44FD-A1C6-36003F1ED060}" presName="parTx" presStyleLbl="revTx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6EA7CB3D-359F-4F9E-91CA-CED21BD1B6AE}" type="presOf" srcId="{231D276A-33F8-4439-A0B3-B338D68BCE17}" destId="{B31847F4-AA8B-40F0-A071-4FC797C53F25}" srcOrd="0" destOrd="0" presId="urn:microsoft.com/office/officeart/2018/2/layout/IconVerticalSolidList"/>
    <dgm:cxn modelId="{23D9CAF8-18C4-4823-8B46-53116A37E3ED}" type="presOf" srcId="{7DFF6C38-309D-41E9-8AC5-962603EBB9A1}" destId="{B9BB6DCF-1094-4E0B-B1A5-F8973FB25D1A}" srcOrd="0" destOrd="0" presId="urn:microsoft.com/office/officeart/2018/2/layout/IconVerticalSolidList"/>
    <dgm:cxn modelId="{A2CACB7F-697E-4C23-B23B-549169DED52D}" srcId="{7DFF6C38-309D-41E9-8AC5-962603EBB9A1}" destId="{E0EE1DE6-8B39-468E-9498-9323C05ADABC}" srcOrd="2" destOrd="0" parTransId="{0BCF85FD-0CDF-4776-B316-6982D5E05A98}" sibTransId="{ADE26BCF-7B1C-4AEC-BFEA-16A5164A3BE5}"/>
    <dgm:cxn modelId="{753310D7-6B88-4AD4-9C2F-191C5316D498}" srcId="{7DFF6C38-309D-41E9-8AC5-962603EBB9A1}" destId="{B617E9D7-D531-44FD-A1C6-36003F1ED060}" srcOrd="4" destOrd="0" parTransId="{DAEDCEAB-9AC9-45A2-9C48-09643D5E660C}" sibTransId="{84D64642-B754-4315-B2E0-AE0DB4516AB9}"/>
    <dgm:cxn modelId="{9AE27DCA-74A4-468C-A657-AA6A1B8ABC16}" type="presOf" srcId="{6A86BB8D-376B-4BA0-B491-02CB14246B72}" destId="{65F7F835-8291-46EC-91FF-163A68B63C9F}" srcOrd="0" destOrd="0" presId="urn:microsoft.com/office/officeart/2018/2/layout/IconVerticalSolidList"/>
    <dgm:cxn modelId="{7EB4D177-CE99-4FFD-ABF4-A439BCF519F8}" type="presOf" srcId="{F7F85F87-EA6C-4C85-AE44-399DA906C04A}" destId="{28BE10B4-D1E3-4D89-BE70-4BDA39883432}" srcOrd="0" destOrd="0" presId="urn:microsoft.com/office/officeart/2018/2/layout/IconVerticalSolidList"/>
    <dgm:cxn modelId="{6359021B-122B-4AB3-BA78-4F3F4587F504}" srcId="{7DFF6C38-309D-41E9-8AC5-962603EBB9A1}" destId="{6A86BB8D-376B-4BA0-B491-02CB14246B72}" srcOrd="1" destOrd="0" parTransId="{CF5FA6F5-4C4E-4A50-A30A-0AAFDAFDDBE8}" sibTransId="{E348FC42-5E5C-42FD-AEEE-E2C1FC7B280A}"/>
    <dgm:cxn modelId="{0DB863EA-FF0A-4482-A290-4CCA8D3E56F5}" srcId="{7DFF6C38-309D-41E9-8AC5-962603EBB9A1}" destId="{231D276A-33F8-4439-A0B3-B338D68BCE17}" srcOrd="3" destOrd="0" parTransId="{0C2BFC8E-7B98-4755-A35D-45C3972AC666}" sibTransId="{5C76280F-A547-4FA5-B569-73FC11664ED5}"/>
    <dgm:cxn modelId="{3DA4946F-3BA7-46BE-8ABB-8F424EA21FFE}" type="presOf" srcId="{B617E9D7-D531-44FD-A1C6-36003F1ED060}" destId="{0D5F4E0E-5B01-46EC-B4ED-198C62829174}" srcOrd="0" destOrd="0" presId="urn:microsoft.com/office/officeart/2018/2/layout/IconVerticalSolidList"/>
    <dgm:cxn modelId="{1A622AF2-5723-43A9-B758-75B9580C188A}" srcId="{7DFF6C38-309D-41E9-8AC5-962603EBB9A1}" destId="{F7F85F87-EA6C-4C85-AE44-399DA906C04A}" srcOrd="0" destOrd="0" parTransId="{71E6110F-163C-4CBE-A7A0-499132CE4D3B}" sibTransId="{1E145FCF-442E-49FA-81AE-A43139A761DB}"/>
    <dgm:cxn modelId="{63DFCF8C-10D1-465E-9805-0B0598D72C9E}" type="presOf" srcId="{E0EE1DE6-8B39-468E-9498-9323C05ADABC}" destId="{77A552B8-33CB-4B61-BC7C-A3EDB5225FAA}" srcOrd="0" destOrd="0" presId="urn:microsoft.com/office/officeart/2018/2/layout/IconVerticalSolidList"/>
    <dgm:cxn modelId="{BBD22CB8-421D-4CC8-B519-017EA29557C2}" type="presParOf" srcId="{B9BB6DCF-1094-4E0B-B1A5-F8973FB25D1A}" destId="{340C4B35-A794-4910-A297-337062D39ED2}" srcOrd="0" destOrd="0" presId="urn:microsoft.com/office/officeart/2018/2/layout/IconVerticalSolidList"/>
    <dgm:cxn modelId="{173BE27B-B124-4C7D-9668-DB100C394263}" type="presParOf" srcId="{340C4B35-A794-4910-A297-337062D39ED2}" destId="{2ADE2F40-7855-4095-9C66-560F1E17FA09}" srcOrd="0" destOrd="0" presId="urn:microsoft.com/office/officeart/2018/2/layout/IconVerticalSolidList"/>
    <dgm:cxn modelId="{EA96D175-C2F2-4A7C-934B-930654AFB17D}" type="presParOf" srcId="{340C4B35-A794-4910-A297-337062D39ED2}" destId="{B74FCE76-C401-4F44-ACB3-0226EFFE1855}" srcOrd="1" destOrd="0" presId="urn:microsoft.com/office/officeart/2018/2/layout/IconVerticalSolidList"/>
    <dgm:cxn modelId="{EE3A1ACC-7B0F-4308-A021-B42E55D33D69}" type="presParOf" srcId="{340C4B35-A794-4910-A297-337062D39ED2}" destId="{E5F21922-A75E-444B-B39D-1B872CBAFCA8}" srcOrd="2" destOrd="0" presId="urn:microsoft.com/office/officeart/2018/2/layout/IconVerticalSolidList"/>
    <dgm:cxn modelId="{BCB2338D-C763-402D-9BC3-04DDBE8C7C44}" type="presParOf" srcId="{340C4B35-A794-4910-A297-337062D39ED2}" destId="{28BE10B4-D1E3-4D89-BE70-4BDA39883432}" srcOrd="3" destOrd="0" presId="urn:microsoft.com/office/officeart/2018/2/layout/IconVerticalSolidList"/>
    <dgm:cxn modelId="{24D055B8-753C-4D96-ADFD-334208AEA2E9}" type="presParOf" srcId="{B9BB6DCF-1094-4E0B-B1A5-F8973FB25D1A}" destId="{145672B5-72FD-451F-9C25-A6F37B519C4F}" srcOrd="1" destOrd="0" presId="urn:microsoft.com/office/officeart/2018/2/layout/IconVerticalSolidList"/>
    <dgm:cxn modelId="{4E9ED6D6-51C9-43ED-A45D-23A4FE3405CB}" type="presParOf" srcId="{B9BB6DCF-1094-4E0B-B1A5-F8973FB25D1A}" destId="{1ECAC436-15AD-42B5-88FF-637335BA2A48}" srcOrd="2" destOrd="0" presId="urn:microsoft.com/office/officeart/2018/2/layout/IconVerticalSolidList"/>
    <dgm:cxn modelId="{241F8901-1E89-4C5C-8B21-895842BD127B}" type="presParOf" srcId="{1ECAC436-15AD-42B5-88FF-637335BA2A48}" destId="{7E5F7892-5F9A-4832-AF05-7547C0EC6654}" srcOrd="0" destOrd="0" presId="urn:microsoft.com/office/officeart/2018/2/layout/IconVerticalSolidList"/>
    <dgm:cxn modelId="{F3FC3928-69B2-4F57-8CC1-7205CB47E431}" type="presParOf" srcId="{1ECAC436-15AD-42B5-88FF-637335BA2A48}" destId="{AD438C47-026B-4187-9692-7B1ADB007DC0}" srcOrd="1" destOrd="0" presId="urn:microsoft.com/office/officeart/2018/2/layout/IconVerticalSolidList"/>
    <dgm:cxn modelId="{DA16F114-2E2B-4F06-8CF4-DF4BB1D570E3}" type="presParOf" srcId="{1ECAC436-15AD-42B5-88FF-637335BA2A48}" destId="{F7051580-AC22-4CFC-95FD-26A35AC5A623}" srcOrd="2" destOrd="0" presId="urn:microsoft.com/office/officeart/2018/2/layout/IconVerticalSolidList"/>
    <dgm:cxn modelId="{815A42EB-8100-49C3-BE32-BAB7A4980AC5}" type="presParOf" srcId="{1ECAC436-15AD-42B5-88FF-637335BA2A48}" destId="{65F7F835-8291-46EC-91FF-163A68B63C9F}" srcOrd="3" destOrd="0" presId="urn:microsoft.com/office/officeart/2018/2/layout/IconVerticalSolidList"/>
    <dgm:cxn modelId="{5A78A163-089A-4BF4-BB4C-7AC57F90D4ED}" type="presParOf" srcId="{B9BB6DCF-1094-4E0B-B1A5-F8973FB25D1A}" destId="{24F558C2-BA40-44C9-95D8-9A424F761690}" srcOrd="3" destOrd="0" presId="urn:microsoft.com/office/officeart/2018/2/layout/IconVerticalSolidList"/>
    <dgm:cxn modelId="{2052F8AE-ADE8-4AC2-8C7B-193909D3D64F}" type="presParOf" srcId="{B9BB6DCF-1094-4E0B-B1A5-F8973FB25D1A}" destId="{A1B092C5-AF79-465F-B8C1-1E2105281FC6}" srcOrd="4" destOrd="0" presId="urn:microsoft.com/office/officeart/2018/2/layout/IconVerticalSolidList"/>
    <dgm:cxn modelId="{0141A8F8-A575-45DC-BDD3-B8553E6393DA}" type="presParOf" srcId="{A1B092C5-AF79-465F-B8C1-1E2105281FC6}" destId="{99DB1767-7D81-4958-89D6-9E12FCA61AFA}" srcOrd="0" destOrd="0" presId="urn:microsoft.com/office/officeart/2018/2/layout/IconVerticalSolidList"/>
    <dgm:cxn modelId="{AAAF3C51-F7E3-4E79-AA1B-3B477E131C6F}" type="presParOf" srcId="{A1B092C5-AF79-465F-B8C1-1E2105281FC6}" destId="{DBDBE751-16C5-4D7D-8C80-9435D353D0A9}" srcOrd="1" destOrd="0" presId="urn:microsoft.com/office/officeart/2018/2/layout/IconVerticalSolidList"/>
    <dgm:cxn modelId="{737F61C4-3572-454C-8808-D94FD3AEE027}" type="presParOf" srcId="{A1B092C5-AF79-465F-B8C1-1E2105281FC6}" destId="{013734A4-BB15-4482-B696-BA48A57B0178}" srcOrd="2" destOrd="0" presId="urn:microsoft.com/office/officeart/2018/2/layout/IconVerticalSolidList"/>
    <dgm:cxn modelId="{A7E2A234-14DC-4B3B-BF44-F14CB334088B}" type="presParOf" srcId="{A1B092C5-AF79-465F-B8C1-1E2105281FC6}" destId="{77A552B8-33CB-4B61-BC7C-A3EDB5225FAA}" srcOrd="3" destOrd="0" presId="urn:microsoft.com/office/officeart/2018/2/layout/IconVerticalSolidList"/>
    <dgm:cxn modelId="{8C0BCD32-599E-4941-BDA3-EA91D054274B}" type="presParOf" srcId="{B9BB6DCF-1094-4E0B-B1A5-F8973FB25D1A}" destId="{39808ABA-9D3B-4B8A-9003-E84728B10761}" srcOrd="5" destOrd="0" presId="urn:microsoft.com/office/officeart/2018/2/layout/IconVerticalSolidList"/>
    <dgm:cxn modelId="{E19F391A-4E74-4255-BDEF-2840C2DAB79C}" type="presParOf" srcId="{B9BB6DCF-1094-4E0B-B1A5-F8973FB25D1A}" destId="{D5D67AC4-F38E-4A15-85A2-D74BAF53473D}" srcOrd="6" destOrd="0" presId="urn:microsoft.com/office/officeart/2018/2/layout/IconVerticalSolidList"/>
    <dgm:cxn modelId="{B1CBB2F0-14F7-4FAE-8418-EE0391FD0B19}" type="presParOf" srcId="{D5D67AC4-F38E-4A15-85A2-D74BAF53473D}" destId="{A3EB9725-B887-4965-9CCE-8F48D41EFD67}" srcOrd="0" destOrd="0" presId="urn:microsoft.com/office/officeart/2018/2/layout/IconVerticalSolidList"/>
    <dgm:cxn modelId="{A9B4BD52-99FE-4B4D-958F-F5032DC3CB27}" type="presParOf" srcId="{D5D67AC4-F38E-4A15-85A2-D74BAF53473D}" destId="{A0A7C51A-4AC9-4688-9D3D-12EBA3905F33}" srcOrd="1" destOrd="0" presId="urn:microsoft.com/office/officeart/2018/2/layout/IconVerticalSolidList"/>
    <dgm:cxn modelId="{ACFC9893-9173-4318-8ECD-30162C8C982C}" type="presParOf" srcId="{D5D67AC4-F38E-4A15-85A2-D74BAF53473D}" destId="{32DD44B7-21EA-4B20-A7D7-E8678CC42577}" srcOrd="2" destOrd="0" presId="urn:microsoft.com/office/officeart/2018/2/layout/IconVerticalSolidList"/>
    <dgm:cxn modelId="{6870701B-2F2D-4954-82D0-2DBDAFD1BDCA}" type="presParOf" srcId="{D5D67AC4-F38E-4A15-85A2-D74BAF53473D}" destId="{B31847F4-AA8B-40F0-A071-4FC797C53F25}" srcOrd="3" destOrd="0" presId="urn:microsoft.com/office/officeart/2018/2/layout/IconVerticalSolidList"/>
    <dgm:cxn modelId="{B42CC8AF-51A1-490C-B301-44E69B76B7EC}" type="presParOf" srcId="{B9BB6DCF-1094-4E0B-B1A5-F8973FB25D1A}" destId="{309BD596-2CA4-4B4D-A97C-3906A13E4FDD}" srcOrd="7" destOrd="0" presId="urn:microsoft.com/office/officeart/2018/2/layout/IconVerticalSolidList"/>
    <dgm:cxn modelId="{0497EDE8-632D-45CA-B1A8-9CE4049B84D3}" type="presParOf" srcId="{B9BB6DCF-1094-4E0B-B1A5-F8973FB25D1A}" destId="{9B225F69-F7E0-4EBF-95DA-956F22E4C809}" srcOrd="8" destOrd="0" presId="urn:microsoft.com/office/officeart/2018/2/layout/IconVerticalSolidList"/>
    <dgm:cxn modelId="{D1A4AD1D-498B-4519-A1B2-D5C2518058B2}" type="presParOf" srcId="{9B225F69-F7E0-4EBF-95DA-956F22E4C809}" destId="{71D9720B-673D-4467-841E-71B027AF30E3}" srcOrd="0" destOrd="0" presId="urn:microsoft.com/office/officeart/2018/2/layout/IconVerticalSolidList"/>
    <dgm:cxn modelId="{85EA45EE-B6AA-4686-8F6D-4CB01BF27B35}" type="presParOf" srcId="{9B225F69-F7E0-4EBF-95DA-956F22E4C809}" destId="{5E92548D-C2F2-4DA2-B73B-5DDD81311531}" srcOrd="1" destOrd="0" presId="urn:microsoft.com/office/officeart/2018/2/layout/IconVerticalSolidList"/>
    <dgm:cxn modelId="{A80E8765-F07D-4EB6-8286-791C7800DB9C}" type="presParOf" srcId="{9B225F69-F7E0-4EBF-95DA-956F22E4C809}" destId="{E9AB31AB-05DC-46F9-806C-4D578BF25257}" srcOrd="2" destOrd="0" presId="urn:microsoft.com/office/officeart/2018/2/layout/IconVerticalSolidList"/>
    <dgm:cxn modelId="{59085EB1-50CD-4B7E-8BA8-09E1AE896BE6}" type="presParOf" srcId="{9B225F69-F7E0-4EBF-95DA-956F22E4C809}" destId="{0D5F4E0E-5B01-46EC-B4ED-198C6282917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8B1C194-B134-47E0-90CF-7759A271575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0E5564-F613-4539-9B17-7839B409B7A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MI’s current position in the market for HVAC Sealants is prime for seizing the opportunity that customization presents</a:t>
          </a:r>
        </a:p>
      </dgm:t>
    </dgm:pt>
    <dgm:pt modelId="{CE03DC1F-E6E1-41C0-9512-849D8D15F8B7}" type="parTrans" cxnId="{10386D4A-031C-4AD0-AFF7-F13C0AFDA807}">
      <dgm:prSet/>
      <dgm:spPr/>
      <dgm:t>
        <a:bodyPr/>
        <a:lstStyle/>
        <a:p>
          <a:endParaRPr lang="en-US"/>
        </a:p>
      </dgm:t>
    </dgm:pt>
    <dgm:pt modelId="{3C3EA162-EBCB-4FCE-BEFA-E7A25B7ADE0B}" type="sibTrans" cxnId="{10386D4A-031C-4AD0-AFF7-F13C0AFDA807}">
      <dgm:prSet/>
      <dgm:spPr/>
      <dgm:t>
        <a:bodyPr/>
        <a:lstStyle/>
        <a:p>
          <a:endParaRPr lang="en-US"/>
        </a:p>
      </dgm:t>
    </dgm:pt>
    <dgm:pt modelId="{59AFC930-2D1A-42D0-B4C5-811FFF77C2A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s seen in this presentation, other key players are trying to address this opportunity but fall short on developing an effective tool that captures what customers truly need in real-time</a:t>
          </a:r>
        </a:p>
      </dgm:t>
    </dgm:pt>
    <dgm:pt modelId="{A0FA77D1-99E6-43E7-AF3B-628A3197C139}" type="parTrans" cxnId="{442946A6-BCE6-4069-9CCD-4A89450CEFA6}">
      <dgm:prSet/>
      <dgm:spPr/>
      <dgm:t>
        <a:bodyPr/>
        <a:lstStyle/>
        <a:p>
          <a:endParaRPr lang="en-US"/>
        </a:p>
      </dgm:t>
    </dgm:pt>
    <dgm:pt modelId="{50A29D3E-B464-4B39-9595-CFCD1FD6A149}" type="sibTrans" cxnId="{442946A6-BCE6-4069-9CCD-4A89450CEFA6}">
      <dgm:prSet/>
      <dgm:spPr/>
      <dgm:t>
        <a:bodyPr/>
        <a:lstStyle/>
        <a:p>
          <a:endParaRPr lang="en-US"/>
        </a:p>
      </dgm:t>
    </dgm:pt>
    <dgm:pt modelId="{3348CF06-A395-4CAA-AD65-58708D58916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We’ve demonstrated that DMI can become an industry leader in innovation with a customer-centric approach to developing custom superior products an evolving HVAC Sealant market</a:t>
          </a:r>
        </a:p>
      </dgm:t>
    </dgm:pt>
    <dgm:pt modelId="{3C21BF8D-0D99-47E0-9571-1799A31D55A5}" type="parTrans" cxnId="{193C4B4B-AB8E-4A24-B919-F396ADD87A79}">
      <dgm:prSet/>
      <dgm:spPr/>
      <dgm:t>
        <a:bodyPr/>
        <a:lstStyle/>
        <a:p>
          <a:endParaRPr lang="en-US"/>
        </a:p>
      </dgm:t>
    </dgm:pt>
    <dgm:pt modelId="{94F78721-84BF-4E87-BAA4-D12EAFF08414}" type="sibTrans" cxnId="{193C4B4B-AB8E-4A24-B919-F396ADD87A79}">
      <dgm:prSet/>
      <dgm:spPr/>
      <dgm:t>
        <a:bodyPr/>
        <a:lstStyle/>
        <a:p>
          <a:endParaRPr lang="en-US"/>
        </a:p>
      </dgm:t>
    </dgm:pt>
    <dgm:pt modelId="{0DAF50B7-C4BF-4BBE-8DBE-0387A366ACA3}" type="pres">
      <dgm:prSet presAssocID="{B8B1C194-B134-47E0-90CF-7759A271575F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73D6CF4-8701-4AF4-823A-5E0E4767842B}" type="pres">
      <dgm:prSet presAssocID="{700E5564-F613-4539-9B17-7839B409B7A2}" presName="compNode" presStyleCnt="0"/>
      <dgm:spPr/>
    </dgm:pt>
    <dgm:pt modelId="{3F98C345-239E-4925-9E60-886508F72F16}" type="pres">
      <dgm:prSet presAssocID="{700E5564-F613-4539-9B17-7839B409B7A2}" presName="bgRect" presStyleLbl="bgShp" presStyleIdx="0" presStyleCnt="3"/>
      <dgm:spPr/>
    </dgm:pt>
    <dgm:pt modelId="{BD2D30C7-4A9D-4D9B-B221-5908F305CBA0}" type="pres">
      <dgm:prSet presAssocID="{700E5564-F613-4539-9B17-7839B409B7A2}" presName="iconRect" presStyleLbl="nod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usiness Growth"/>
        </a:ext>
      </dgm:extLst>
    </dgm:pt>
    <dgm:pt modelId="{F1EC824E-2729-4FD4-AFD5-DB034DE55816}" type="pres">
      <dgm:prSet presAssocID="{700E5564-F613-4539-9B17-7839B409B7A2}" presName="spaceRect" presStyleCnt="0"/>
      <dgm:spPr/>
    </dgm:pt>
    <dgm:pt modelId="{29A495F0-B8D7-412C-8CF2-3F4BBDF45FCF}" type="pres">
      <dgm:prSet presAssocID="{700E5564-F613-4539-9B17-7839B409B7A2}" presName="parTx" presStyleLbl="revTx" presStyleIdx="0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27AE9D3-A028-4052-AD95-66E9C7D76394}" type="pres">
      <dgm:prSet presAssocID="{3C3EA162-EBCB-4FCE-BEFA-E7A25B7ADE0B}" presName="sibTrans" presStyleCnt="0"/>
      <dgm:spPr/>
    </dgm:pt>
    <dgm:pt modelId="{42460692-4E9D-4DE5-9696-21717D6BEA3C}" type="pres">
      <dgm:prSet presAssocID="{59AFC930-2D1A-42D0-B4C5-811FFF77C2A7}" presName="compNode" presStyleCnt="0"/>
      <dgm:spPr/>
    </dgm:pt>
    <dgm:pt modelId="{646BFB4F-D754-449C-BD4F-E9F485322898}" type="pres">
      <dgm:prSet presAssocID="{59AFC930-2D1A-42D0-B4C5-811FFF77C2A7}" presName="bgRect" presStyleLbl="bgShp" presStyleIdx="1" presStyleCnt="3"/>
      <dgm:spPr/>
    </dgm:pt>
    <dgm:pt modelId="{0613F180-0803-4030-8036-DFAC2420B2DF}" type="pres">
      <dgm:prSet presAssocID="{59AFC930-2D1A-42D0-B4C5-811FFF77C2A7}" presName="iconRect" presStyleLbl="node1" presStyleIdx="1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Light Bulb and Gear"/>
        </a:ext>
      </dgm:extLst>
    </dgm:pt>
    <dgm:pt modelId="{4183262D-AAD2-4B59-AA41-1E8BD67FBBF9}" type="pres">
      <dgm:prSet presAssocID="{59AFC930-2D1A-42D0-B4C5-811FFF77C2A7}" presName="spaceRect" presStyleCnt="0"/>
      <dgm:spPr/>
    </dgm:pt>
    <dgm:pt modelId="{7DD22BEA-4930-4B5C-8419-95DFFE90BE06}" type="pres">
      <dgm:prSet presAssocID="{59AFC930-2D1A-42D0-B4C5-811FFF77C2A7}" presName="parTx" presStyleLbl="revTx" presStyleIdx="1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FBB56083-D4DF-4B60-8662-88BBD5E37FE9}" type="pres">
      <dgm:prSet presAssocID="{50A29D3E-B464-4B39-9595-CFCD1FD6A149}" presName="sibTrans" presStyleCnt="0"/>
      <dgm:spPr/>
    </dgm:pt>
    <dgm:pt modelId="{339B9E05-AF94-4385-A475-C5991A6144A7}" type="pres">
      <dgm:prSet presAssocID="{3348CF06-A395-4CAA-AD65-58708D58916F}" presName="compNode" presStyleCnt="0"/>
      <dgm:spPr/>
    </dgm:pt>
    <dgm:pt modelId="{42E2C94B-3B0A-4A36-AC4D-8DFC7B4C3848}" type="pres">
      <dgm:prSet presAssocID="{3348CF06-A395-4CAA-AD65-58708D58916F}" presName="bgRect" presStyleLbl="bgShp" presStyleIdx="2" presStyleCnt="3"/>
      <dgm:spPr/>
    </dgm:pt>
    <dgm:pt modelId="{DC65AE88-21CE-4108-9B16-8B4305156716}" type="pres">
      <dgm:prSet presAssocID="{3348CF06-A395-4CAA-AD65-58708D58916F}" presName="iconRect" presStyleLbl="node1" presStyleIdx="2" presStyleCnt="3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Lightbulb"/>
        </a:ext>
      </dgm:extLst>
    </dgm:pt>
    <dgm:pt modelId="{99BEF5DD-D923-4469-B572-6936F66E61A9}" type="pres">
      <dgm:prSet presAssocID="{3348CF06-A395-4CAA-AD65-58708D58916F}" presName="spaceRect" presStyleCnt="0"/>
      <dgm:spPr/>
    </dgm:pt>
    <dgm:pt modelId="{B4548B04-EE08-476A-8AF9-8C03FBFC124E}" type="pres">
      <dgm:prSet presAssocID="{3348CF06-A395-4CAA-AD65-58708D58916F}" presName="parTx" presStyleLbl="revTx" presStyleIdx="2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D7E35DE0-4AAE-44E0-A0CB-4271B8A4A290}" type="presOf" srcId="{59AFC930-2D1A-42D0-B4C5-811FFF77C2A7}" destId="{7DD22BEA-4930-4B5C-8419-95DFFE90BE06}" srcOrd="0" destOrd="0" presId="urn:microsoft.com/office/officeart/2018/2/layout/IconVerticalSolidList"/>
    <dgm:cxn modelId="{193C4B4B-AB8E-4A24-B919-F396ADD87A79}" srcId="{B8B1C194-B134-47E0-90CF-7759A271575F}" destId="{3348CF06-A395-4CAA-AD65-58708D58916F}" srcOrd="2" destOrd="0" parTransId="{3C21BF8D-0D99-47E0-9571-1799A31D55A5}" sibTransId="{94F78721-84BF-4E87-BAA4-D12EAFF08414}"/>
    <dgm:cxn modelId="{8A77C837-09B8-4931-B073-15239F8EED6D}" type="presOf" srcId="{B8B1C194-B134-47E0-90CF-7759A271575F}" destId="{0DAF50B7-C4BF-4BBE-8DBE-0387A366ACA3}" srcOrd="0" destOrd="0" presId="urn:microsoft.com/office/officeart/2018/2/layout/IconVerticalSolidList"/>
    <dgm:cxn modelId="{3851B456-9B9B-4B2E-A30A-CFC3A89638B9}" type="presOf" srcId="{700E5564-F613-4539-9B17-7839B409B7A2}" destId="{29A495F0-B8D7-412C-8CF2-3F4BBDF45FCF}" srcOrd="0" destOrd="0" presId="urn:microsoft.com/office/officeart/2018/2/layout/IconVerticalSolidList"/>
    <dgm:cxn modelId="{442946A6-BCE6-4069-9CCD-4A89450CEFA6}" srcId="{B8B1C194-B134-47E0-90CF-7759A271575F}" destId="{59AFC930-2D1A-42D0-B4C5-811FFF77C2A7}" srcOrd="1" destOrd="0" parTransId="{A0FA77D1-99E6-43E7-AF3B-628A3197C139}" sibTransId="{50A29D3E-B464-4B39-9595-CFCD1FD6A149}"/>
    <dgm:cxn modelId="{7F3EF8E1-6276-4C64-9B83-64B7DA82F4B9}" type="presOf" srcId="{3348CF06-A395-4CAA-AD65-58708D58916F}" destId="{B4548B04-EE08-476A-8AF9-8C03FBFC124E}" srcOrd="0" destOrd="0" presId="urn:microsoft.com/office/officeart/2018/2/layout/IconVerticalSolidList"/>
    <dgm:cxn modelId="{10386D4A-031C-4AD0-AFF7-F13C0AFDA807}" srcId="{B8B1C194-B134-47E0-90CF-7759A271575F}" destId="{700E5564-F613-4539-9B17-7839B409B7A2}" srcOrd="0" destOrd="0" parTransId="{CE03DC1F-E6E1-41C0-9512-849D8D15F8B7}" sibTransId="{3C3EA162-EBCB-4FCE-BEFA-E7A25B7ADE0B}"/>
    <dgm:cxn modelId="{D8F80A37-AC86-4E49-84F7-F56C06355F76}" type="presParOf" srcId="{0DAF50B7-C4BF-4BBE-8DBE-0387A366ACA3}" destId="{E73D6CF4-8701-4AF4-823A-5E0E4767842B}" srcOrd="0" destOrd="0" presId="urn:microsoft.com/office/officeart/2018/2/layout/IconVerticalSolidList"/>
    <dgm:cxn modelId="{7DFCFBDF-5DC4-4203-9146-05B5BE9BEA0A}" type="presParOf" srcId="{E73D6CF4-8701-4AF4-823A-5E0E4767842B}" destId="{3F98C345-239E-4925-9E60-886508F72F16}" srcOrd="0" destOrd="0" presId="urn:microsoft.com/office/officeart/2018/2/layout/IconVerticalSolidList"/>
    <dgm:cxn modelId="{CFCD0FC4-ECE8-4174-BF8A-62E440317043}" type="presParOf" srcId="{E73D6CF4-8701-4AF4-823A-5E0E4767842B}" destId="{BD2D30C7-4A9D-4D9B-B221-5908F305CBA0}" srcOrd="1" destOrd="0" presId="urn:microsoft.com/office/officeart/2018/2/layout/IconVerticalSolidList"/>
    <dgm:cxn modelId="{4683323D-5961-408D-8252-328E6DA3343C}" type="presParOf" srcId="{E73D6CF4-8701-4AF4-823A-5E0E4767842B}" destId="{F1EC824E-2729-4FD4-AFD5-DB034DE55816}" srcOrd="2" destOrd="0" presId="urn:microsoft.com/office/officeart/2018/2/layout/IconVerticalSolidList"/>
    <dgm:cxn modelId="{368F0ABB-6999-4E1B-8EC9-53B7EF2E5046}" type="presParOf" srcId="{E73D6CF4-8701-4AF4-823A-5E0E4767842B}" destId="{29A495F0-B8D7-412C-8CF2-3F4BBDF45FCF}" srcOrd="3" destOrd="0" presId="urn:microsoft.com/office/officeart/2018/2/layout/IconVerticalSolidList"/>
    <dgm:cxn modelId="{64E70BA4-1E88-40FE-A0FA-628439A8EA2F}" type="presParOf" srcId="{0DAF50B7-C4BF-4BBE-8DBE-0387A366ACA3}" destId="{027AE9D3-A028-4052-AD95-66E9C7D76394}" srcOrd="1" destOrd="0" presId="urn:microsoft.com/office/officeart/2018/2/layout/IconVerticalSolidList"/>
    <dgm:cxn modelId="{72F80B08-6D07-4AAB-9A11-C5CA094D12F9}" type="presParOf" srcId="{0DAF50B7-C4BF-4BBE-8DBE-0387A366ACA3}" destId="{42460692-4E9D-4DE5-9696-21717D6BEA3C}" srcOrd="2" destOrd="0" presId="urn:microsoft.com/office/officeart/2018/2/layout/IconVerticalSolidList"/>
    <dgm:cxn modelId="{A87C5425-C8D7-4A0A-983C-BB5D8D40A0A8}" type="presParOf" srcId="{42460692-4E9D-4DE5-9696-21717D6BEA3C}" destId="{646BFB4F-D754-449C-BD4F-E9F485322898}" srcOrd="0" destOrd="0" presId="urn:microsoft.com/office/officeart/2018/2/layout/IconVerticalSolidList"/>
    <dgm:cxn modelId="{0EEDB3B1-46C4-4288-9732-175A340A0835}" type="presParOf" srcId="{42460692-4E9D-4DE5-9696-21717D6BEA3C}" destId="{0613F180-0803-4030-8036-DFAC2420B2DF}" srcOrd="1" destOrd="0" presId="urn:microsoft.com/office/officeart/2018/2/layout/IconVerticalSolidList"/>
    <dgm:cxn modelId="{3827C20F-11C1-4260-8437-4FEEDFC12ADF}" type="presParOf" srcId="{42460692-4E9D-4DE5-9696-21717D6BEA3C}" destId="{4183262D-AAD2-4B59-AA41-1E8BD67FBBF9}" srcOrd="2" destOrd="0" presId="urn:microsoft.com/office/officeart/2018/2/layout/IconVerticalSolidList"/>
    <dgm:cxn modelId="{2D314731-7AF2-4E87-B57A-985866D96383}" type="presParOf" srcId="{42460692-4E9D-4DE5-9696-21717D6BEA3C}" destId="{7DD22BEA-4930-4B5C-8419-95DFFE90BE06}" srcOrd="3" destOrd="0" presId="urn:microsoft.com/office/officeart/2018/2/layout/IconVerticalSolidList"/>
    <dgm:cxn modelId="{7316805E-F413-4F08-AB96-2EBE95A3D49B}" type="presParOf" srcId="{0DAF50B7-C4BF-4BBE-8DBE-0387A366ACA3}" destId="{FBB56083-D4DF-4B60-8662-88BBD5E37FE9}" srcOrd="3" destOrd="0" presId="urn:microsoft.com/office/officeart/2018/2/layout/IconVerticalSolidList"/>
    <dgm:cxn modelId="{83A34B3A-B841-4545-82BC-D385DE176CC6}" type="presParOf" srcId="{0DAF50B7-C4BF-4BBE-8DBE-0387A366ACA3}" destId="{339B9E05-AF94-4385-A475-C5991A6144A7}" srcOrd="4" destOrd="0" presId="urn:microsoft.com/office/officeart/2018/2/layout/IconVerticalSolidList"/>
    <dgm:cxn modelId="{9029011D-6F1E-4651-8063-47A4F8213546}" type="presParOf" srcId="{339B9E05-AF94-4385-A475-C5991A6144A7}" destId="{42E2C94B-3B0A-4A36-AC4D-8DFC7B4C3848}" srcOrd="0" destOrd="0" presId="urn:microsoft.com/office/officeart/2018/2/layout/IconVerticalSolidList"/>
    <dgm:cxn modelId="{50862353-3160-418D-A830-87A8EFDF17A8}" type="presParOf" srcId="{339B9E05-AF94-4385-A475-C5991A6144A7}" destId="{DC65AE88-21CE-4108-9B16-8B4305156716}" srcOrd="1" destOrd="0" presId="urn:microsoft.com/office/officeart/2018/2/layout/IconVerticalSolidList"/>
    <dgm:cxn modelId="{010E0E19-0F0C-402E-AABA-090D0D0836E5}" type="presParOf" srcId="{339B9E05-AF94-4385-A475-C5991A6144A7}" destId="{99BEF5DD-D923-4469-B572-6936F66E61A9}" srcOrd="2" destOrd="0" presId="urn:microsoft.com/office/officeart/2018/2/layout/IconVerticalSolidList"/>
    <dgm:cxn modelId="{3A7862B0-C2E7-4FBF-A8BF-CE2E2B893CD8}" type="presParOf" srcId="{339B9E05-AF94-4385-A475-C5991A6144A7}" destId="{B4548B04-EE08-476A-8AF9-8C03FBFC124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A1589B6-7731-4FAB-B9DA-A59D83DB9ECC}" type="doc">
      <dgm:prSet loTypeId="urn:microsoft.com/office/officeart/2016/7/layout/RepeatingBendingProcessNew" loCatId="process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2457077-6C36-43F7-9046-06F80B201E63}">
      <dgm:prSet phldr="0"/>
      <dgm:spPr/>
      <dgm:t>
        <a:bodyPr/>
        <a:lstStyle/>
        <a:p>
          <a:pPr rtl="0"/>
          <a:r>
            <a:rPr lang="en-US">
              <a:latin typeface="Aptos Display" panose="020F0302020204030204"/>
            </a:rPr>
            <a:t>Pursue technology solutions that will collect and manage customer behavior</a:t>
          </a:r>
          <a:endParaRPr lang="en-US"/>
        </a:p>
      </dgm:t>
    </dgm:pt>
    <dgm:pt modelId="{99A04293-69D4-4021-9AD2-1728F93A20FA}" type="parTrans" cxnId="{C3B40D84-5FB3-4105-B906-9CA90BA7FE79}">
      <dgm:prSet/>
      <dgm:spPr/>
      <dgm:t>
        <a:bodyPr/>
        <a:lstStyle/>
        <a:p>
          <a:endParaRPr lang="en-US"/>
        </a:p>
      </dgm:t>
    </dgm:pt>
    <dgm:pt modelId="{E6AADDE4-3B68-45EB-8274-1AD28622B3C6}" type="sibTrans" cxnId="{C3B40D84-5FB3-4105-B906-9CA90BA7FE79}">
      <dgm:prSet/>
      <dgm:spPr/>
      <dgm:t>
        <a:bodyPr/>
        <a:lstStyle/>
        <a:p>
          <a:endParaRPr lang="en-US"/>
        </a:p>
      </dgm:t>
    </dgm:pt>
    <dgm:pt modelId="{D8EEA7D6-95E7-42A0-A7A4-09CEA871C305}">
      <dgm:prSet phldr="0"/>
      <dgm:spPr/>
      <dgm:t>
        <a:bodyPr/>
        <a:lstStyle/>
        <a:p>
          <a:pPr rtl="0"/>
          <a:r>
            <a:rPr lang="en-US">
              <a:latin typeface="Aptos Display" panose="020F0302020204030204"/>
            </a:rPr>
            <a:t>Develop a customization tool that captures customer preferences with built in formulation factors based on customer feedback and market trends</a:t>
          </a:r>
          <a:endParaRPr lang="en-US"/>
        </a:p>
      </dgm:t>
    </dgm:pt>
    <dgm:pt modelId="{4D4C0DBC-3A89-485D-8A19-ACBE462BA885}" type="parTrans" cxnId="{42E99C18-B3B6-4E04-932C-B0F43654ED0A}">
      <dgm:prSet/>
      <dgm:spPr/>
      <dgm:t>
        <a:bodyPr/>
        <a:lstStyle/>
        <a:p>
          <a:endParaRPr lang="en-US"/>
        </a:p>
      </dgm:t>
    </dgm:pt>
    <dgm:pt modelId="{C14FF4D4-EF27-4F8A-A492-CF4EB885E4DA}" type="sibTrans" cxnId="{42E99C18-B3B6-4E04-932C-B0F43654ED0A}">
      <dgm:prSet/>
      <dgm:spPr/>
      <dgm:t>
        <a:bodyPr/>
        <a:lstStyle/>
        <a:p>
          <a:endParaRPr lang="en-US"/>
        </a:p>
      </dgm:t>
    </dgm:pt>
    <dgm:pt modelId="{7CD160C2-D1DE-4F27-9CA1-285F04D1A4A5}">
      <dgm:prSet/>
      <dgm:spPr/>
      <dgm:t>
        <a:bodyPr/>
        <a:lstStyle/>
        <a:p>
          <a:pPr rtl="0"/>
          <a:r>
            <a:rPr lang="en-US" dirty="0">
              <a:latin typeface="Aptos Display" panose="020F0302020204030204"/>
            </a:rPr>
            <a:t>Prioritize</a:t>
          </a:r>
          <a:r>
            <a:rPr lang="en-US" dirty="0"/>
            <a:t> </a:t>
          </a:r>
          <a:r>
            <a:rPr lang="en-US" dirty="0">
              <a:latin typeface="Aptos Display" panose="020F0302020204030204"/>
            </a:rPr>
            <a:t>opportunities </a:t>
          </a:r>
          <a:r>
            <a:rPr lang="en-US" dirty="0" smtClean="0"/>
            <a:t>in </a:t>
          </a:r>
          <a:r>
            <a:rPr lang="en-US" dirty="0"/>
            <a:t>regions that will benefit from tailored products in their distinct market segments</a:t>
          </a:r>
        </a:p>
      </dgm:t>
    </dgm:pt>
    <dgm:pt modelId="{6129171F-1112-4642-A889-348638053A3E}" type="parTrans" cxnId="{5B23AD7F-EDE7-4B0F-9A11-4D5310A9E75D}">
      <dgm:prSet/>
      <dgm:spPr/>
      <dgm:t>
        <a:bodyPr/>
        <a:lstStyle/>
        <a:p>
          <a:endParaRPr lang="en-US"/>
        </a:p>
      </dgm:t>
    </dgm:pt>
    <dgm:pt modelId="{A4A15735-46EE-4AFC-B168-B4C75A85AE9E}" type="sibTrans" cxnId="{5B23AD7F-EDE7-4B0F-9A11-4D5310A9E75D}">
      <dgm:prSet/>
      <dgm:spPr/>
      <dgm:t>
        <a:bodyPr/>
        <a:lstStyle/>
        <a:p>
          <a:endParaRPr lang="en-US"/>
        </a:p>
      </dgm:t>
    </dgm:pt>
    <dgm:pt modelId="{71EEF1E3-2AA3-4C95-A814-173046F78436}" type="pres">
      <dgm:prSet presAssocID="{EA1589B6-7731-4FAB-B9DA-A59D83DB9EC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3B102BE-14E2-4116-8B12-0123B2838C2F}" type="pres">
      <dgm:prSet presAssocID="{D2457077-6C36-43F7-9046-06F80B201E63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9D24F3-7147-4B6A-8D0E-56AD716A6BD8}" type="pres">
      <dgm:prSet presAssocID="{E6AADDE4-3B68-45EB-8274-1AD28622B3C6}" presName="sibTrans" presStyleLbl="sibTrans1D1" presStyleIdx="0" presStyleCnt="2"/>
      <dgm:spPr/>
      <dgm:t>
        <a:bodyPr/>
        <a:lstStyle/>
        <a:p>
          <a:endParaRPr lang="en-US"/>
        </a:p>
      </dgm:t>
    </dgm:pt>
    <dgm:pt modelId="{A5AE9800-5647-417C-B663-ADAD2EC16E9C}" type="pres">
      <dgm:prSet presAssocID="{E6AADDE4-3B68-45EB-8274-1AD28622B3C6}" presName="connectorText" presStyleLbl="sibTrans1D1" presStyleIdx="0" presStyleCnt="2"/>
      <dgm:spPr/>
      <dgm:t>
        <a:bodyPr/>
        <a:lstStyle/>
        <a:p>
          <a:endParaRPr lang="en-US"/>
        </a:p>
      </dgm:t>
    </dgm:pt>
    <dgm:pt modelId="{96C04408-1391-4A61-BF30-FEAF8451032F}" type="pres">
      <dgm:prSet presAssocID="{D8EEA7D6-95E7-42A0-A7A4-09CEA871C305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35EB7-2CA4-4C52-B9CA-7C3D3FC9AFD4}" type="pres">
      <dgm:prSet presAssocID="{C14FF4D4-EF27-4F8A-A492-CF4EB885E4DA}" presName="sibTrans" presStyleLbl="sibTrans1D1" presStyleIdx="1" presStyleCnt="2"/>
      <dgm:spPr/>
      <dgm:t>
        <a:bodyPr/>
        <a:lstStyle/>
        <a:p>
          <a:endParaRPr lang="en-US"/>
        </a:p>
      </dgm:t>
    </dgm:pt>
    <dgm:pt modelId="{655B8A01-3A2E-4FC0-9C49-C41580BC541C}" type="pres">
      <dgm:prSet presAssocID="{C14FF4D4-EF27-4F8A-A492-CF4EB885E4DA}" presName="connectorText" presStyleLbl="sibTrans1D1" presStyleIdx="1" presStyleCnt="2"/>
      <dgm:spPr/>
      <dgm:t>
        <a:bodyPr/>
        <a:lstStyle/>
        <a:p>
          <a:endParaRPr lang="en-US"/>
        </a:p>
      </dgm:t>
    </dgm:pt>
    <dgm:pt modelId="{7C57C397-6E48-4741-B0E9-642F9E48A333}" type="pres">
      <dgm:prSet presAssocID="{7CD160C2-D1DE-4F27-9CA1-285F04D1A4A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CB8557B-D26B-4B0E-9B50-ACCB2A170DA9}" type="presOf" srcId="{C14FF4D4-EF27-4F8A-A492-CF4EB885E4DA}" destId="{8AF35EB7-2CA4-4C52-B9CA-7C3D3FC9AFD4}" srcOrd="0" destOrd="0" presId="urn:microsoft.com/office/officeart/2016/7/layout/RepeatingBendingProcessNew"/>
    <dgm:cxn modelId="{9196BDAC-3B98-4A62-A47D-E6D4C0CA1607}" type="presOf" srcId="{D2457077-6C36-43F7-9046-06F80B201E63}" destId="{73B102BE-14E2-4116-8B12-0123B2838C2F}" srcOrd="0" destOrd="0" presId="urn:microsoft.com/office/officeart/2016/7/layout/RepeatingBendingProcessNew"/>
    <dgm:cxn modelId="{45D3D565-1055-4C56-910D-2913B4A0F965}" type="presOf" srcId="{C14FF4D4-EF27-4F8A-A492-CF4EB885E4DA}" destId="{655B8A01-3A2E-4FC0-9C49-C41580BC541C}" srcOrd="1" destOrd="0" presId="urn:microsoft.com/office/officeart/2016/7/layout/RepeatingBendingProcessNew"/>
    <dgm:cxn modelId="{5B23AD7F-EDE7-4B0F-9A11-4D5310A9E75D}" srcId="{EA1589B6-7731-4FAB-B9DA-A59D83DB9ECC}" destId="{7CD160C2-D1DE-4F27-9CA1-285F04D1A4A5}" srcOrd="2" destOrd="0" parTransId="{6129171F-1112-4642-A889-348638053A3E}" sibTransId="{A4A15735-46EE-4AFC-B168-B4C75A85AE9E}"/>
    <dgm:cxn modelId="{8D5EB3AE-CF70-4656-9643-C68234D597DC}" type="presOf" srcId="{EA1589B6-7731-4FAB-B9DA-A59D83DB9ECC}" destId="{71EEF1E3-2AA3-4C95-A814-173046F78436}" srcOrd="0" destOrd="0" presId="urn:microsoft.com/office/officeart/2016/7/layout/RepeatingBendingProcessNew"/>
    <dgm:cxn modelId="{C2D050D2-0EC2-4AF9-A9E5-6916F463C6D3}" type="presOf" srcId="{E6AADDE4-3B68-45EB-8274-1AD28622B3C6}" destId="{129D24F3-7147-4B6A-8D0E-56AD716A6BD8}" srcOrd="0" destOrd="0" presId="urn:microsoft.com/office/officeart/2016/7/layout/RepeatingBendingProcessNew"/>
    <dgm:cxn modelId="{07A42509-C5BB-4659-B322-D42C207E78B6}" type="presOf" srcId="{E6AADDE4-3B68-45EB-8274-1AD28622B3C6}" destId="{A5AE9800-5647-417C-B663-ADAD2EC16E9C}" srcOrd="1" destOrd="0" presId="urn:microsoft.com/office/officeart/2016/7/layout/RepeatingBendingProcessNew"/>
    <dgm:cxn modelId="{AA36341C-60E0-4489-BE5F-09332B90B9CE}" type="presOf" srcId="{7CD160C2-D1DE-4F27-9CA1-285F04D1A4A5}" destId="{7C57C397-6E48-4741-B0E9-642F9E48A333}" srcOrd="0" destOrd="0" presId="urn:microsoft.com/office/officeart/2016/7/layout/RepeatingBendingProcessNew"/>
    <dgm:cxn modelId="{42E99C18-B3B6-4E04-932C-B0F43654ED0A}" srcId="{EA1589B6-7731-4FAB-B9DA-A59D83DB9ECC}" destId="{D8EEA7D6-95E7-42A0-A7A4-09CEA871C305}" srcOrd="1" destOrd="0" parTransId="{4D4C0DBC-3A89-485D-8A19-ACBE462BA885}" sibTransId="{C14FF4D4-EF27-4F8A-A492-CF4EB885E4DA}"/>
    <dgm:cxn modelId="{C3B40D84-5FB3-4105-B906-9CA90BA7FE79}" srcId="{EA1589B6-7731-4FAB-B9DA-A59D83DB9ECC}" destId="{D2457077-6C36-43F7-9046-06F80B201E63}" srcOrd="0" destOrd="0" parTransId="{99A04293-69D4-4021-9AD2-1728F93A20FA}" sibTransId="{E6AADDE4-3B68-45EB-8274-1AD28622B3C6}"/>
    <dgm:cxn modelId="{BAA3255C-FC92-4BDA-A140-02ECF8F73FF3}" type="presOf" srcId="{D8EEA7D6-95E7-42A0-A7A4-09CEA871C305}" destId="{96C04408-1391-4A61-BF30-FEAF8451032F}" srcOrd="0" destOrd="0" presId="urn:microsoft.com/office/officeart/2016/7/layout/RepeatingBendingProcessNew"/>
    <dgm:cxn modelId="{7FC3BEF4-4A44-431E-9E77-2C6CEAB59DCD}" type="presParOf" srcId="{71EEF1E3-2AA3-4C95-A814-173046F78436}" destId="{73B102BE-14E2-4116-8B12-0123B2838C2F}" srcOrd="0" destOrd="0" presId="urn:microsoft.com/office/officeart/2016/7/layout/RepeatingBendingProcessNew"/>
    <dgm:cxn modelId="{7DC88245-D6F8-46FE-953D-52183262B82E}" type="presParOf" srcId="{71EEF1E3-2AA3-4C95-A814-173046F78436}" destId="{129D24F3-7147-4B6A-8D0E-56AD716A6BD8}" srcOrd="1" destOrd="0" presId="urn:microsoft.com/office/officeart/2016/7/layout/RepeatingBendingProcessNew"/>
    <dgm:cxn modelId="{1F5C82B2-747C-48B7-BDEE-0BC3884BC238}" type="presParOf" srcId="{129D24F3-7147-4B6A-8D0E-56AD716A6BD8}" destId="{A5AE9800-5647-417C-B663-ADAD2EC16E9C}" srcOrd="0" destOrd="0" presId="urn:microsoft.com/office/officeart/2016/7/layout/RepeatingBendingProcessNew"/>
    <dgm:cxn modelId="{E885B2C2-C2A9-43C0-8991-7F2E4FC00B9B}" type="presParOf" srcId="{71EEF1E3-2AA3-4C95-A814-173046F78436}" destId="{96C04408-1391-4A61-BF30-FEAF8451032F}" srcOrd="2" destOrd="0" presId="urn:microsoft.com/office/officeart/2016/7/layout/RepeatingBendingProcessNew"/>
    <dgm:cxn modelId="{F09CA818-CF7C-4DD2-8CDC-AE1CDE3B5D24}" type="presParOf" srcId="{71EEF1E3-2AA3-4C95-A814-173046F78436}" destId="{8AF35EB7-2CA4-4C52-B9CA-7C3D3FC9AFD4}" srcOrd="3" destOrd="0" presId="urn:microsoft.com/office/officeart/2016/7/layout/RepeatingBendingProcessNew"/>
    <dgm:cxn modelId="{938B57BB-AF0A-48E8-A5AC-FE113F29FF4E}" type="presParOf" srcId="{8AF35EB7-2CA4-4C52-B9CA-7C3D3FC9AFD4}" destId="{655B8A01-3A2E-4FC0-9C49-C41580BC541C}" srcOrd="0" destOrd="0" presId="urn:microsoft.com/office/officeart/2016/7/layout/RepeatingBendingProcessNew"/>
    <dgm:cxn modelId="{DC305F27-17C4-4EA4-B653-B6E24F55C05B}" type="presParOf" srcId="{71EEF1E3-2AA3-4C95-A814-173046F78436}" destId="{7C57C397-6E48-4741-B0E9-642F9E48A333}" srcOrd="4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0A6007-6E4A-4D38-A766-52D6D674E5C0}">
      <dsp:nvSpPr>
        <dsp:cNvPr id="0" name=""/>
        <dsp:cNvSpPr/>
      </dsp:nvSpPr>
      <dsp:spPr>
        <a:xfrm>
          <a:off x="0" y="4592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DD5721-4A9E-42CD-B2E9-92CFCB4AFAF2}">
      <dsp:nvSpPr>
        <dsp:cNvPr id="0" name=""/>
        <dsp:cNvSpPr/>
      </dsp:nvSpPr>
      <dsp:spPr>
        <a:xfrm>
          <a:off x="295926" y="224703"/>
          <a:ext cx="538048" cy="53804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3109C9-42DC-42D9-AF57-1BA0C1DDE62D}">
      <dsp:nvSpPr>
        <dsp:cNvPr id="0" name=""/>
        <dsp:cNvSpPr/>
      </dsp:nvSpPr>
      <dsp:spPr>
        <a:xfrm>
          <a:off x="1129902" y="4592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/>
            <a:t>Market Demand Analysis of regional trends, customer preferences, and purchasing decisions</a:t>
          </a:r>
        </a:p>
      </dsp:txBody>
      <dsp:txXfrm>
        <a:off x="1129902" y="4592"/>
        <a:ext cx="5171698" cy="978270"/>
      </dsp:txXfrm>
    </dsp:sp>
    <dsp:sp modelId="{A3F68F58-8974-4A0E-ACA0-39263D4FD303}">
      <dsp:nvSpPr>
        <dsp:cNvPr id="0" name=""/>
        <dsp:cNvSpPr/>
      </dsp:nvSpPr>
      <dsp:spPr>
        <a:xfrm>
          <a:off x="0" y="1227431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098483-987F-463B-9BF1-BA5E22284A7E}">
      <dsp:nvSpPr>
        <dsp:cNvPr id="0" name=""/>
        <dsp:cNvSpPr/>
      </dsp:nvSpPr>
      <dsp:spPr>
        <a:xfrm>
          <a:off x="295926" y="1447541"/>
          <a:ext cx="538048" cy="538048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D72CC-6440-4884-BF22-C0754A8DC88C}">
      <dsp:nvSpPr>
        <dsp:cNvPr id="0" name=""/>
        <dsp:cNvSpPr/>
      </dsp:nvSpPr>
      <dsp:spPr>
        <a:xfrm>
          <a:off x="1129902" y="1227431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/>
            <a:t>Identifying customer pain points and gaps amongst DMI and its competitors</a:t>
          </a:r>
        </a:p>
      </dsp:txBody>
      <dsp:txXfrm>
        <a:off x="1129902" y="1227431"/>
        <a:ext cx="5171698" cy="978270"/>
      </dsp:txXfrm>
    </dsp:sp>
    <dsp:sp modelId="{B1BBDB9B-0AC5-4237-8F2F-9E536D2B6556}">
      <dsp:nvSpPr>
        <dsp:cNvPr id="0" name=""/>
        <dsp:cNvSpPr/>
      </dsp:nvSpPr>
      <dsp:spPr>
        <a:xfrm>
          <a:off x="0" y="2450269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BEE482-84EE-4E47-A976-98EB118D7DE0}">
      <dsp:nvSpPr>
        <dsp:cNvPr id="0" name=""/>
        <dsp:cNvSpPr/>
      </dsp:nvSpPr>
      <dsp:spPr>
        <a:xfrm>
          <a:off x="295926" y="2670380"/>
          <a:ext cx="538048" cy="538048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153539-BFB3-4327-A4B0-575CED64090B}">
      <dsp:nvSpPr>
        <dsp:cNvPr id="0" name=""/>
        <dsp:cNvSpPr/>
      </dsp:nvSpPr>
      <dsp:spPr>
        <a:xfrm>
          <a:off x="1129902" y="2450269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/>
            <a:t>Delving into the opportunities that customization stands to gain in the market to differentiate from the competition</a:t>
          </a:r>
        </a:p>
      </dsp:txBody>
      <dsp:txXfrm>
        <a:off x="1129902" y="2450269"/>
        <a:ext cx="5171698" cy="978270"/>
      </dsp:txXfrm>
    </dsp:sp>
    <dsp:sp modelId="{BA80A4CF-6C8D-4B70-A90C-C09253F6549A}">
      <dsp:nvSpPr>
        <dsp:cNvPr id="0" name=""/>
        <dsp:cNvSpPr/>
      </dsp:nvSpPr>
      <dsp:spPr>
        <a:xfrm>
          <a:off x="0" y="3673107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5EBD7F-D89D-4012-A2E3-86FDC87EB4D1}">
      <dsp:nvSpPr>
        <dsp:cNvPr id="0" name=""/>
        <dsp:cNvSpPr/>
      </dsp:nvSpPr>
      <dsp:spPr>
        <a:xfrm>
          <a:off x="295926" y="3893218"/>
          <a:ext cx="538048" cy="538048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5C04F8-F0B5-445D-A3E5-469E99FDE449}">
      <dsp:nvSpPr>
        <dsp:cNvPr id="0" name=""/>
        <dsp:cNvSpPr/>
      </dsp:nvSpPr>
      <dsp:spPr>
        <a:xfrm>
          <a:off x="1129902" y="3673107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/>
            <a:t>Previewing the concept of integrating customization with the sales and manufacturing operation</a:t>
          </a:r>
        </a:p>
      </dsp:txBody>
      <dsp:txXfrm>
        <a:off x="1129902" y="3673107"/>
        <a:ext cx="5171698" cy="978270"/>
      </dsp:txXfrm>
    </dsp:sp>
    <dsp:sp modelId="{7393BB97-1E36-4B99-9034-2B8153E483DA}">
      <dsp:nvSpPr>
        <dsp:cNvPr id="0" name=""/>
        <dsp:cNvSpPr/>
      </dsp:nvSpPr>
      <dsp:spPr>
        <a:xfrm>
          <a:off x="0" y="4895945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65ADD5-D925-497C-8864-4EE30CBA045E}">
      <dsp:nvSpPr>
        <dsp:cNvPr id="0" name=""/>
        <dsp:cNvSpPr/>
      </dsp:nvSpPr>
      <dsp:spPr>
        <a:xfrm>
          <a:off x="295926" y="5116056"/>
          <a:ext cx="538048" cy="538048"/>
        </a:xfrm>
        <a:prstGeom prst="rect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3D1E6A-FD70-48C3-9BD9-5634E2828C16}">
      <dsp:nvSpPr>
        <dsp:cNvPr id="0" name=""/>
        <dsp:cNvSpPr/>
      </dsp:nvSpPr>
      <dsp:spPr>
        <a:xfrm>
          <a:off x="1129902" y="4895945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/>
            <a:t>Recommendations for capitalizing on a customer-driven approach to product development</a:t>
          </a:r>
        </a:p>
      </dsp:txBody>
      <dsp:txXfrm>
        <a:off x="1129902" y="4895945"/>
        <a:ext cx="5171698" cy="9782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0A6007-6E4A-4D38-A766-52D6D674E5C0}">
      <dsp:nvSpPr>
        <dsp:cNvPr id="0" name=""/>
        <dsp:cNvSpPr/>
      </dsp:nvSpPr>
      <dsp:spPr>
        <a:xfrm>
          <a:off x="0" y="4592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DD5721-4A9E-42CD-B2E9-92CFCB4AFAF2}">
      <dsp:nvSpPr>
        <dsp:cNvPr id="0" name=""/>
        <dsp:cNvSpPr/>
      </dsp:nvSpPr>
      <dsp:spPr>
        <a:xfrm>
          <a:off x="295926" y="224703"/>
          <a:ext cx="538048" cy="538048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3109C9-42DC-42D9-AF57-1BA0C1DDE62D}">
      <dsp:nvSpPr>
        <dsp:cNvPr id="0" name=""/>
        <dsp:cNvSpPr/>
      </dsp:nvSpPr>
      <dsp:spPr>
        <a:xfrm>
          <a:off x="1129902" y="4592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>
              <a:latin typeface="Aptos Display" panose="020F0302020204030204"/>
            </a:rPr>
            <a:t>Regional</a:t>
          </a:r>
          <a:r>
            <a:rPr lang="en-US" sz="1700" kern="1200"/>
            <a:t> </a:t>
          </a:r>
          <a:r>
            <a:rPr lang="en-US" sz="1700" kern="1200">
              <a:latin typeface="Aptos Display" panose="020F0302020204030204"/>
            </a:rPr>
            <a:t>trends indicate a need for customer solutions</a:t>
          </a:r>
          <a:endParaRPr lang="en-US" sz="1700" kern="1200"/>
        </a:p>
      </dsp:txBody>
      <dsp:txXfrm>
        <a:off x="1129902" y="4592"/>
        <a:ext cx="5171698" cy="978270"/>
      </dsp:txXfrm>
    </dsp:sp>
    <dsp:sp modelId="{A3F68F58-8974-4A0E-ACA0-39263D4FD303}">
      <dsp:nvSpPr>
        <dsp:cNvPr id="0" name=""/>
        <dsp:cNvSpPr/>
      </dsp:nvSpPr>
      <dsp:spPr>
        <a:xfrm>
          <a:off x="0" y="1227431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098483-987F-463B-9BF1-BA5E22284A7E}">
      <dsp:nvSpPr>
        <dsp:cNvPr id="0" name=""/>
        <dsp:cNvSpPr/>
      </dsp:nvSpPr>
      <dsp:spPr>
        <a:xfrm>
          <a:off x="295926" y="1447541"/>
          <a:ext cx="538048" cy="538048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D72CC-6440-4884-BF22-C0754A8DC88C}">
      <dsp:nvSpPr>
        <dsp:cNvPr id="0" name=""/>
        <dsp:cNvSpPr/>
      </dsp:nvSpPr>
      <dsp:spPr>
        <a:xfrm>
          <a:off x="1129902" y="1227431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>
              <a:latin typeface="Aptos Display" panose="020F0302020204030204"/>
            </a:rPr>
            <a:t>Drying time, durability, and price are leading factors in buying decisions </a:t>
          </a:r>
          <a:endParaRPr lang="en-US" sz="1700" kern="1200"/>
        </a:p>
      </dsp:txBody>
      <dsp:txXfrm>
        <a:off x="1129902" y="1227431"/>
        <a:ext cx="5171698" cy="978270"/>
      </dsp:txXfrm>
    </dsp:sp>
    <dsp:sp modelId="{775D6E6B-16A3-407B-9600-54BFCC7C5EBE}">
      <dsp:nvSpPr>
        <dsp:cNvPr id="0" name=""/>
        <dsp:cNvSpPr/>
      </dsp:nvSpPr>
      <dsp:spPr>
        <a:xfrm>
          <a:off x="0" y="2450269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D2FFF3-AEC8-4822-B7D6-C6968CD8FB94}">
      <dsp:nvSpPr>
        <dsp:cNvPr id="0" name=""/>
        <dsp:cNvSpPr/>
      </dsp:nvSpPr>
      <dsp:spPr>
        <a:xfrm>
          <a:off x="295926" y="2670380"/>
          <a:ext cx="538048" cy="53804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5E8BAD-7059-400E-A407-408DF243CCF6}">
      <dsp:nvSpPr>
        <dsp:cNvPr id="0" name=""/>
        <dsp:cNvSpPr/>
      </dsp:nvSpPr>
      <dsp:spPr>
        <a:xfrm>
          <a:off x="1129902" y="2450269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7556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>
              <a:latin typeface="Aptos Display" panose="020F0302020204030204"/>
            </a:rPr>
            <a:t>More customer engagement strategies will attract more interest in Ductmate sealants</a:t>
          </a:r>
        </a:p>
      </dsp:txBody>
      <dsp:txXfrm>
        <a:off x="1129902" y="2450269"/>
        <a:ext cx="5171698" cy="978270"/>
      </dsp:txXfrm>
    </dsp:sp>
    <dsp:sp modelId="{BA80A4CF-6C8D-4B70-A90C-C09253F6549A}">
      <dsp:nvSpPr>
        <dsp:cNvPr id="0" name=""/>
        <dsp:cNvSpPr/>
      </dsp:nvSpPr>
      <dsp:spPr>
        <a:xfrm>
          <a:off x="0" y="3673107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5EBD7F-D89D-4012-A2E3-86FDC87EB4D1}">
      <dsp:nvSpPr>
        <dsp:cNvPr id="0" name=""/>
        <dsp:cNvSpPr/>
      </dsp:nvSpPr>
      <dsp:spPr>
        <a:xfrm>
          <a:off x="295926" y="3893218"/>
          <a:ext cx="538048" cy="538048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5C04F8-F0B5-445D-A3E5-469E99FDE449}">
      <dsp:nvSpPr>
        <dsp:cNvPr id="0" name=""/>
        <dsp:cNvSpPr/>
      </dsp:nvSpPr>
      <dsp:spPr>
        <a:xfrm>
          <a:off x="1129902" y="3673107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7556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>
              <a:latin typeface="Aptos Display" panose="020F0302020204030204"/>
            </a:rPr>
            <a:t>Customization improves customer leads, product development, and differentation from competitors</a:t>
          </a:r>
          <a:endParaRPr lang="en-US" sz="1700" kern="1200"/>
        </a:p>
      </dsp:txBody>
      <dsp:txXfrm>
        <a:off x="1129902" y="3673107"/>
        <a:ext cx="5171698" cy="978270"/>
      </dsp:txXfrm>
    </dsp:sp>
    <dsp:sp modelId="{7393BB97-1E36-4B99-9034-2B8153E483DA}">
      <dsp:nvSpPr>
        <dsp:cNvPr id="0" name=""/>
        <dsp:cNvSpPr/>
      </dsp:nvSpPr>
      <dsp:spPr>
        <a:xfrm>
          <a:off x="0" y="4895945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65ADD5-D925-497C-8864-4EE30CBA045E}">
      <dsp:nvSpPr>
        <dsp:cNvPr id="0" name=""/>
        <dsp:cNvSpPr/>
      </dsp:nvSpPr>
      <dsp:spPr>
        <a:xfrm>
          <a:off x="295926" y="5116056"/>
          <a:ext cx="538048" cy="538048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3D1E6A-FD70-48C3-9BD9-5634E2828C16}">
      <dsp:nvSpPr>
        <dsp:cNvPr id="0" name=""/>
        <dsp:cNvSpPr/>
      </dsp:nvSpPr>
      <dsp:spPr>
        <a:xfrm>
          <a:off x="1129902" y="4895945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lvl="0" algn="l" defTabSz="7556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>
              <a:latin typeface="Aptos Display" panose="020F0302020204030204"/>
            </a:rPr>
            <a:t>Technology solutions exist for DMI to integrate an interactive customization tool on the company website</a:t>
          </a:r>
          <a:endParaRPr lang="en-US" sz="1700" kern="1200"/>
        </a:p>
      </dsp:txBody>
      <dsp:txXfrm>
        <a:off x="1129902" y="4895945"/>
        <a:ext cx="5171698" cy="97827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653DE6-1B5B-4A1B-BCF7-F2ABA851DB43}">
      <dsp:nvSpPr>
        <dsp:cNvPr id="0" name=""/>
        <dsp:cNvSpPr/>
      </dsp:nvSpPr>
      <dsp:spPr>
        <a:xfrm>
          <a:off x="752566" y="1045320"/>
          <a:ext cx="1066720" cy="106672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37BD86-9F8D-44A9-B174-529BE9B062E9}">
      <dsp:nvSpPr>
        <dsp:cNvPr id="0" name=""/>
        <dsp:cNvSpPr/>
      </dsp:nvSpPr>
      <dsp:spPr>
        <a:xfrm>
          <a:off x="100682" y="2427484"/>
          <a:ext cx="2370489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i="0" kern="1200"/>
            <a:t>Fast-Drying Sealants</a:t>
          </a:r>
          <a:r>
            <a:rPr lang="en-US" sz="1200" b="0" i="0" kern="1200"/>
            <a:t>: Reduces labor time, balances consistency ("not too goopy/watery").​</a:t>
          </a:r>
          <a:endParaRPr lang="en-US" sz="1200" kern="1200"/>
        </a:p>
      </dsp:txBody>
      <dsp:txXfrm>
        <a:off x="100682" y="2427484"/>
        <a:ext cx="2370489" cy="720000"/>
      </dsp:txXfrm>
    </dsp:sp>
    <dsp:sp modelId="{D3B88F75-B99C-4C24-9F7A-888CDC36FDB8}">
      <dsp:nvSpPr>
        <dsp:cNvPr id="0" name=""/>
        <dsp:cNvSpPr/>
      </dsp:nvSpPr>
      <dsp:spPr>
        <a:xfrm>
          <a:off x="3537891" y="1045320"/>
          <a:ext cx="1066720" cy="106672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6AFE8D-C44A-4EB5-8AB4-D29E1415307A}">
      <dsp:nvSpPr>
        <dsp:cNvPr id="0" name=""/>
        <dsp:cNvSpPr/>
      </dsp:nvSpPr>
      <dsp:spPr>
        <a:xfrm>
          <a:off x="2886007" y="2427484"/>
          <a:ext cx="2370489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i="0" kern="1200"/>
            <a:t>Price Sensitivity</a:t>
          </a:r>
          <a:r>
            <a:rPr lang="en-US" sz="1200" b="0" i="0" kern="1200"/>
            <a:t>: Competitive pricing essential; focus on cost-effective quality over competitors.​</a:t>
          </a:r>
          <a:endParaRPr lang="en-US" sz="1200" kern="1200"/>
        </a:p>
      </dsp:txBody>
      <dsp:txXfrm>
        <a:off x="2886007" y="2427484"/>
        <a:ext cx="2370489" cy="720000"/>
      </dsp:txXfrm>
    </dsp:sp>
    <dsp:sp modelId="{C92C40EA-690E-4F46-8678-4241A066E5F6}">
      <dsp:nvSpPr>
        <dsp:cNvPr id="0" name=""/>
        <dsp:cNvSpPr/>
      </dsp:nvSpPr>
      <dsp:spPr>
        <a:xfrm>
          <a:off x="6323216" y="1045320"/>
          <a:ext cx="1066720" cy="106672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2E2205-9AF3-4F48-8D67-18D130A5C3B6}">
      <dsp:nvSpPr>
        <dsp:cNvPr id="0" name=""/>
        <dsp:cNvSpPr/>
      </dsp:nvSpPr>
      <dsp:spPr>
        <a:xfrm>
          <a:off x="5671332" y="2427484"/>
          <a:ext cx="2370489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i="0" kern="1200"/>
            <a:t>Ease of Application</a:t>
          </a:r>
          <a:r>
            <a:rPr lang="en-US" sz="1200" b="0" i="0" kern="1200"/>
            <a:t>: Highlight Green Seam tech for labor-saving, streamlined application.​</a:t>
          </a:r>
          <a:endParaRPr lang="en-US" sz="1200" kern="1200"/>
        </a:p>
      </dsp:txBody>
      <dsp:txXfrm>
        <a:off x="5671332" y="2427484"/>
        <a:ext cx="2370489" cy="720000"/>
      </dsp:txXfrm>
    </dsp:sp>
    <dsp:sp modelId="{EC37713D-85D0-4B8B-B2B1-8B1697719E9C}">
      <dsp:nvSpPr>
        <dsp:cNvPr id="0" name=""/>
        <dsp:cNvSpPr/>
      </dsp:nvSpPr>
      <dsp:spPr>
        <a:xfrm>
          <a:off x="9108541" y="1045320"/>
          <a:ext cx="1066720" cy="106672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8B9C99-184F-4B72-8F65-1A6D112C8723}">
      <dsp:nvSpPr>
        <dsp:cNvPr id="0" name=""/>
        <dsp:cNvSpPr/>
      </dsp:nvSpPr>
      <dsp:spPr>
        <a:xfrm>
          <a:off x="8456657" y="2427484"/>
          <a:ext cx="2370489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i="0" kern="1200"/>
            <a:t>Environmental Durability</a:t>
          </a:r>
          <a:r>
            <a:rPr lang="en-US" sz="1200" b="0" i="0" kern="1200"/>
            <a:t>: Products withstand heat/humidity; market as standard durability.​</a:t>
          </a:r>
          <a:endParaRPr lang="en-US" sz="1200" kern="1200"/>
        </a:p>
      </dsp:txBody>
      <dsp:txXfrm>
        <a:off x="8456657" y="2427484"/>
        <a:ext cx="2370489" cy="7200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18A0A7-F158-4C50-8411-AA7318D1830D}">
      <dsp:nvSpPr>
        <dsp:cNvPr id="0" name=""/>
        <dsp:cNvSpPr/>
      </dsp:nvSpPr>
      <dsp:spPr>
        <a:xfrm>
          <a:off x="282221" y="368029"/>
          <a:ext cx="1371985" cy="1371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8D56B4-E8AB-4D0F-9F51-C752640049F0}">
      <dsp:nvSpPr>
        <dsp:cNvPr id="0" name=""/>
        <dsp:cNvSpPr/>
      </dsp:nvSpPr>
      <dsp:spPr>
        <a:xfrm>
          <a:off x="570337" y="656145"/>
          <a:ext cx="795751" cy="795751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3053C4-33D1-4742-AECD-AC62C71BFDBF}">
      <dsp:nvSpPr>
        <dsp:cNvPr id="0" name=""/>
        <dsp:cNvSpPr/>
      </dsp:nvSpPr>
      <dsp:spPr>
        <a:xfrm>
          <a:off x="1948202" y="36802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/>
            <a:t>Standard Products Focus</a:t>
          </a:r>
          <a:r>
            <a:rPr lang="en-US" sz="2000" kern="1200"/>
            <a:t>: Prioritize standard, efficient, and affordable solutions.</a:t>
          </a:r>
        </a:p>
      </dsp:txBody>
      <dsp:txXfrm>
        <a:off x="1948202" y="368029"/>
        <a:ext cx="3233964" cy="1371985"/>
      </dsp:txXfrm>
    </dsp:sp>
    <dsp:sp modelId="{C21EC8B2-E39A-46CE-AA2E-CB9D4160A636}">
      <dsp:nvSpPr>
        <dsp:cNvPr id="0" name=""/>
        <dsp:cNvSpPr/>
      </dsp:nvSpPr>
      <dsp:spPr>
        <a:xfrm>
          <a:off x="5745661" y="368029"/>
          <a:ext cx="1371985" cy="137198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44C89C-9CC3-4C7A-B661-6C32FEF36B05}">
      <dsp:nvSpPr>
        <dsp:cNvPr id="0" name=""/>
        <dsp:cNvSpPr/>
      </dsp:nvSpPr>
      <dsp:spPr>
        <a:xfrm>
          <a:off x="6033778" y="656145"/>
          <a:ext cx="795751" cy="795751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725AE6-299F-4A76-8E27-D89B7349ACBA}">
      <dsp:nvSpPr>
        <dsp:cNvPr id="0" name=""/>
        <dsp:cNvSpPr/>
      </dsp:nvSpPr>
      <dsp:spPr>
        <a:xfrm>
          <a:off x="7411643" y="36802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/>
            <a:t>Experiential Marketing</a:t>
          </a:r>
          <a:r>
            <a:rPr lang="en-US" sz="2000" kern="1200"/>
            <a:t>: In-person demos, samples, and videos for contractor engagement.</a:t>
          </a:r>
        </a:p>
      </dsp:txBody>
      <dsp:txXfrm>
        <a:off x="7411643" y="368029"/>
        <a:ext cx="3233964" cy="1371985"/>
      </dsp:txXfrm>
    </dsp:sp>
    <dsp:sp modelId="{835E202D-9DBE-42A0-A5F8-702DBB2D1807}">
      <dsp:nvSpPr>
        <dsp:cNvPr id="0" name=""/>
        <dsp:cNvSpPr/>
      </dsp:nvSpPr>
      <dsp:spPr>
        <a:xfrm>
          <a:off x="282221" y="2452790"/>
          <a:ext cx="1371985" cy="137198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815FB-661C-4E45-BA3C-3E0013F4FA12}">
      <dsp:nvSpPr>
        <dsp:cNvPr id="0" name=""/>
        <dsp:cNvSpPr/>
      </dsp:nvSpPr>
      <dsp:spPr>
        <a:xfrm>
          <a:off x="570337" y="2740907"/>
          <a:ext cx="795751" cy="795751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9C3593-A77E-42AD-804F-52584786E6BF}">
      <dsp:nvSpPr>
        <dsp:cNvPr id="0" name=""/>
        <dsp:cNvSpPr/>
      </dsp:nvSpPr>
      <dsp:spPr>
        <a:xfrm>
          <a:off x="1948202" y="2452790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/>
            <a:t>Feedback Collection</a:t>
          </a:r>
          <a:r>
            <a:rPr lang="en-US" sz="2000" kern="1200"/>
            <a:t>: Focus on in-person events with web forms as supplementary, incentivized option.</a:t>
          </a:r>
        </a:p>
      </dsp:txBody>
      <dsp:txXfrm>
        <a:off x="1948202" y="2452790"/>
        <a:ext cx="3233964" cy="1371985"/>
      </dsp:txXfrm>
    </dsp:sp>
    <dsp:sp modelId="{93A67BD9-A01C-413A-9E7D-034A7C8F9DEB}">
      <dsp:nvSpPr>
        <dsp:cNvPr id="0" name=""/>
        <dsp:cNvSpPr/>
      </dsp:nvSpPr>
      <dsp:spPr>
        <a:xfrm>
          <a:off x="5745661" y="2452790"/>
          <a:ext cx="1371985" cy="137198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DC5B54-C2FE-489A-BE11-C9A924A0F868}">
      <dsp:nvSpPr>
        <dsp:cNvPr id="0" name=""/>
        <dsp:cNvSpPr/>
      </dsp:nvSpPr>
      <dsp:spPr>
        <a:xfrm>
          <a:off x="6033778" y="2740907"/>
          <a:ext cx="795751" cy="795751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5040E4-A756-45C7-8834-7AB39613B012}">
      <dsp:nvSpPr>
        <dsp:cNvPr id="0" name=""/>
        <dsp:cNvSpPr/>
      </dsp:nvSpPr>
      <dsp:spPr>
        <a:xfrm>
          <a:off x="7411643" y="2452790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/>
            <a:t>Brand Recognition</a:t>
          </a:r>
          <a:r>
            <a:rPr lang="en-US" sz="2000" kern="1200"/>
            <a:t>: Emphasize product identifiers (e.g., lid colors) to boost brand recall.</a:t>
          </a:r>
        </a:p>
      </dsp:txBody>
      <dsp:txXfrm>
        <a:off x="7411643" y="2452790"/>
        <a:ext cx="3233964" cy="13719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4FF12-E4BC-4B1A-AD1F-4E890F92A7E6}">
      <dsp:nvSpPr>
        <dsp:cNvPr id="0" name=""/>
        <dsp:cNvSpPr/>
      </dsp:nvSpPr>
      <dsp:spPr>
        <a:xfrm>
          <a:off x="282221" y="1410409"/>
          <a:ext cx="1371985" cy="1371985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24D200-58CE-43FE-975D-DD8959AFF5F2}">
      <dsp:nvSpPr>
        <dsp:cNvPr id="0" name=""/>
        <dsp:cNvSpPr/>
      </dsp:nvSpPr>
      <dsp:spPr>
        <a:xfrm>
          <a:off x="570337" y="1698526"/>
          <a:ext cx="795751" cy="795751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4DA0B8-AD65-46DF-9811-A189BF49C8C8}">
      <dsp:nvSpPr>
        <dsp:cNvPr id="0" name=""/>
        <dsp:cNvSpPr/>
      </dsp:nvSpPr>
      <dsp:spPr>
        <a:xfrm>
          <a:off x="1948202" y="141040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/>
            <a:t>Rising Demand for Water-Based Sealants</a:t>
          </a:r>
          <a:r>
            <a:rPr lang="en-US" sz="1700" kern="1200"/>
            <a:t>: water-based sealant solutions are free from harmful VOCs</a:t>
          </a:r>
        </a:p>
      </dsp:txBody>
      <dsp:txXfrm>
        <a:off x="1948202" y="1410409"/>
        <a:ext cx="3233964" cy="1371985"/>
      </dsp:txXfrm>
    </dsp:sp>
    <dsp:sp modelId="{DF983018-7996-49E4-9C75-4A1679A46B8C}">
      <dsp:nvSpPr>
        <dsp:cNvPr id="0" name=""/>
        <dsp:cNvSpPr/>
      </dsp:nvSpPr>
      <dsp:spPr>
        <a:xfrm>
          <a:off x="5745661" y="1410409"/>
          <a:ext cx="1371985" cy="1371985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65563C-9CD0-4CF1-91D9-AFBF70EB7F09}">
      <dsp:nvSpPr>
        <dsp:cNvPr id="0" name=""/>
        <dsp:cNvSpPr/>
      </dsp:nvSpPr>
      <dsp:spPr>
        <a:xfrm>
          <a:off x="6033778" y="1698526"/>
          <a:ext cx="795751" cy="795751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FD5BD0-5127-47E9-9327-068A9D159E2F}">
      <dsp:nvSpPr>
        <dsp:cNvPr id="0" name=""/>
        <dsp:cNvSpPr/>
      </dsp:nvSpPr>
      <dsp:spPr>
        <a:xfrm>
          <a:off x="7411643" y="141040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/>
            <a:t>LEED Certification Compliance</a:t>
          </a:r>
          <a:r>
            <a:rPr lang="en-US" sz="1700" kern="1200"/>
            <a:t>: The increasing requirements for LEED certification are pushing companies towards Non-VOC and water-based solutions</a:t>
          </a:r>
        </a:p>
      </dsp:txBody>
      <dsp:txXfrm>
        <a:off x="7411643" y="1410409"/>
        <a:ext cx="3233964" cy="137198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4FF12-E4BC-4B1A-AD1F-4E890F92A7E6}">
      <dsp:nvSpPr>
        <dsp:cNvPr id="0" name=""/>
        <dsp:cNvSpPr/>
      </dsp:nvSpPr>
      <dsp:spPr>
        <a:xfrm>
          <a:off x="282221" y="1410409"/>
          <a:ext cx="1371985" cy="1371985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24D200-58CE-43FE-975D-DD8959AFF5F2}">
      <dsp:nvSpPr>
        <dsp:cNvPr id="0" name=""/>
        <dsp:cNvSpPr/>
      </dsp:nvSpPr>
      <dsp:spPr>
        <a:xfrm>
          <a:off x="570337" y="1698526"/>
          <a:ext cx="795751" cy="795751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4DA0B8-AD65-46DF-9811-A189BF49C8C8}">
      <dsp:nvSpPr>
        <dsp:cNvPr id="0" name=""/>
        <dsp:cNvSpPr/>
      </dsp:nvSpPr>
      <dsp:spPr>
        <a:xfrm>
          <a:off x="1948202" y="141040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/>
            <a:t>Rising Demand for Water-Based Sealants</a:t>
          </a:r>
          <a:r>
            <a:rPr lang="en-US" sz="1700" kern="1200"/>
            <a:t>: water-based sealant solutions are free from harmful VOCs</a:t>
          </a:r>
        </a:p>
      </dsp:txBody>
      <dsp:txXfrm>
        <a:off x="1948202" y="1410409"/>
        <a:ext cx="3233964" cy="1371985"/>
      </dsp:txXfrm>
    </dsp:sp>
    <dsp:sp modelId="{DF983018-7996-49E4-9C75-4A1679A46B8C}">
      <dsp:nvSpPr>
        <dsp:cNvPr id="0" name=""/>
        <dsp:cNvSpPr/>
      </dsp:nvSpPr>
      <dsp:spPr>
        <a:xfrm>
          <a:off x="5745661" y="1410409"/>
          <a:ext cx="1371985" cy="1371985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65563C-9CD0-4CF1-91D9-AFBF70EB7F09}">
      <dsp:nvSpPr>
        <dsp:cNvPr id="0" name=""/>
        <dsp:cNvSpPr/>
      </dsp:nvSpPr>
      <dsp:spPr>
        <a:xfrm>
          <a:off x="6033778" y="1698526"/>
          <a:ext cx="795751" cy="795751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FD5BD0-5127-47E9-9327-068A9D159E2F}">
      <dsp:nvSpPr>
        <dsp:cNvPr id="0" name=""/>
        <dsp:cNvSpPr/>
      </dsp:nvSpPr>
      <dsp:spPr>
        <a:xfrm>
          <a:off x="7411643" y="1410409"/>
          <a:ext cx="3233964" cy="1371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/>
            <a:t>LEED Certification Compliance</a:t>
          </a:r>
          <a:r>
            <a:rPr lang="en-US" sz="1700" kern="1200"/>
            <a:t>: The increasing requirements for LEED certification are pushing companies towards Non-VOC and water-based solutions</a:t>
          </a:r>
        </a:p>
      </dsp:txBody>
      <dsp:txXfrm>
        <a:off x="7411643" y="1410409"/>
        <a:ext cx="3233964" cy="13719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DE2F40-7855-4095-9C66-560F1E17FA09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4FCE76-C401-4F44-ACB3-0226EFFE1855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BE10B4-D1E3-4D89-BE70-4BDA39883432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/>
            <a:t>Enhances customer insights to capture valuable data on specific preferences</a:t>
          </a:r>
        </a:p>
      </dsp:txBody>
      <dsp:txXfrm>
        <a:off x="1074268" y="4366"/>
        <a:ext cx="5170996" cy="930102"/>
      </dsp:txXfrm>
    </dsp:sp>
    <dsp:sp modelId="{7E5F7892-5F9A-4832-AF05-7547C0EC6654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438C47-026B-4187-9692-7B1ADB007DC0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F7F835-8291-46EC-91FF-163A68B63C9F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/>
            <a:t>Improves customer experience by giving a sense of personalization, tailored to specific needs</a:t>
          </a:r>
        </a:p>
      </dsp:txBody>
      <dsp:txXfrm>
        <a:off x="1074268" y="1166994"/>
        <a:ext cx="5170996" cy="930102"/>
      </dsp:txXfrm>
    </dsp:sp>
    <dsp:sp modelId="{99DB1767-7D81-4958-89D6-9E12FCA61AFA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DBE751-16C5-4D7D-8C80-9435D353D0A9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A552B8-33CB-4B61-BC7C-A3EDB5225FAA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/>
            <a:t>Provides a strategic advantage over competitors by offering a forward-thinking and customer-centric solution</a:t>
          </a:r>
        </a:p>
      </dsp:txBody>
      <dsp:txXfrm>
        <a:off x="1074268" y="2329622"/>
        <a:ext cx="5170996" cy="930102"/>
      </dsp:txXfrm>
    </dsp:sp>
    <dsp:sp modelId="{A3EB9725-B887-4965-9CCE-8F48D41EFD67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A7C51A-4AC9-4688-9D3D-12EBA3905F33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1847F4-AA8B-40F0-A071-4FC797C53F25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/>
            <a:t>Builds a database of customer preferences over-time that tracks market trends guiding future product development</a:t>
          </a:r>
        </a:p>
      </dsp:txBody>
      <dsp:txXfrm>
        <a:off x="1074268" y="3492250"/>
        <a:ext cx="5170996" cy="930102"/>
      </dsp:txXfrm>
    </dsp:sp>
    <dsp:sp modelId="{71D9720B-673D-4467-841E-71B027AF30E3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92548D-C2F2-4DA2-B73B-5DDD81311531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5F4E0E-5B01-46EC-B4ED-198C62829174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/>
            <a:t>Streamlines the sales process by reducing formulation validation time</a:t>
          </a:r>
        </a:p>
      </dsp:txBody>
      <dsp:txXfrm>
        <a:off x="1074268" y="4654878"/>
        <a:ext cx="5170996" cy="9301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98C345-239E-4925-9E60-886508F72F16}">
      <dsp:nvSpPr>
        <dsp:cNvPr id="0" name=""/>
        <dsp:cNvSpPr/>
      </dsp:nvSpPr>
      <dsp:spPr>
        <a:xfrm>
          <a:off x="0" y="531"/>
          <a:ext cx="10515600" cy="12429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2D30C7-4A9D-4D9B-B221-5908F305CBA0}">
      <dsp:nvSpPr>
        <dsp:cNvPr id="0" name=""/>
        <dsp:cNvSpPr/>
      </dsp:nvSpPr>
      <dsp:spPr>
        <a:xfrm>
          <a:off x="375988" y="280191"/>
          <a:ext cx="683614" cy="683614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A495F0-B8D7-412C-8CF2-3F4BBDF45FCF}">
      <dsp:nvSpPr>
        <dsp:cNvPr id="0" name=""/>
        <dsp:cNvSpPr/>
      </dsp:nvSpPr>
      <dsp:spPr>
        <a:xfrm>
          <a:off x="1435590" y="531"/>
          <a:ext cx="9080009" cy="12429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44" tIns="131544" rIns="131544" bIns="131544" numCol="1" spcCol="1270" anchor="ctr" anchorCtr="0">
          <a:noAutofit/>
        </a:bodyPr>
        <a:lstStyle/>
        <a:p>
          <a:pPr lvl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DMI’s current position in the market for HVAC Sealants is prime for seizing the opportunity that customization presents</a:t>
          </a:r>
        </a:p>
      </dsp:txBody>
      <dsp:txXfrm>
        <a:off x="1435590" y="531"/>
        <a:ext cx="9080009" cy="1242935"/>
      </dsp:txXfrm>
    </dsp:sp>
    <dsp:sp modelId="{646BFB4F-D754-449C-BD4F-E9F485322898}">
      <dsp:nvSpPr>
        <dsp:cNvPr id="0" name=""/>
        <dsp:cNvSpPr/>
      </dsp:nvSpPr>
      <dsp:spPr>
        <a:xfrm>
          <a:off x="0" y="1554201"/>
          <a:ext cx="10515600" cy="12429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13F180-0803-4030-8036-DFAC2420B2DF}">
      <dsp:nvSpPr>
        <dsp:cNvPr id="0" name=""/>
        <dsp:cNvSpPr/>
      </dsp:nvSpPr>
      <dsp:spPr>
        <a:xfrm>
          <a:off x="375988" y="1833861"/>
          <a:ext cx="683614" cy="683614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D22BEA-4930-4B5C-8419-95DFFE90BE06}">
      <dsp:nvSpPr>
        <dsp:cNvPr id="0" name=""/>
        <dsp:cNvSpPr/>
      </dsp:nvSpPr>
      <dsp:spPr>
        <a:xfrm>
          <a:off x="1435590" y="1554201"/>
          <a:ext cx="9080009" cy="12429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44" tIns="131544" rIns="131544" bIns="131544" numCol="1" spcCol="1270" anchor="ctr" anchorCtr="0">
          <a:noAutofit/>
        </a:bodyPr>
        <a:lstStyle/>
        <a:p>
          <a:pPr lvl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As seen in this presentation, other key players are trying to address this opportunity but fall short on developing an effective tool that captures what customers truly need in real-time</a:t>
          </a:r>
        </a:p>
      </dsp:txBody>
      <dsp:txXfrm>
        <a:off x="1435590" y="1554201"/>
        <a:ext cx="9080009" cy="1242935"/>
      </dsp:txXfrm>
    </dsp:sp>
    <dsp:sp modelId="{42E2C94B-3B0A-4A36-AC4D-8DFC7B4C3848}">
      <dsp:nvSpPr>
        <dsp:cNvPr id="0" name=""/>
        <dsp:cNvSpPr/>
      </dsp:nvSpPr>
      <dsp:spPr>
        <a:xfrm>
          <a:off x="0" y="3107870"/>
          <a:ext cx="10515600" cy="12429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65AE88-21CE-4108-9B16-8B4305156716}">
      <dsp:nvSpPr>
        <dsp:cNvPr id="0" name=""/>
        <dsp:cNvSpPr/>
      </dsp:nvSpPr>
      <dsp:spPr>
        <a:xfrm>
          <a:off x="375988" y="3387531"/>
          <a:ext cx="683614" cy="683614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548B04-EE08-476A-8AF9-8C03FBFC124E}">
      <dsp:nvSpPr>
        <dsp:cNvPr id="0" name=""/>
        <dsp:cNvSpPr/>
      </dsp:nvSpPr>
      <dsp:spPr>
        <a:xfrm>
          <a:off x="1435590" y="3107870"/>
          <a:ext cx="9080009" cy="12429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44" tIns="131544" rIns="131544" bIns="131544" numCol="1" spcCol="1270" anchor="ctr" anchorCtr="0">
          <a:noAutofit/>
        </a:bodyPr>
        <a:lstStyle/>
        <a:p>
          <a:pPr lvl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We’ve demonstrated that DMI can become an industry leader in innovation with a customer-centric approach to developing custom superior products an evolving HVAC Sealant market</a:t>
          </a:r>
        </a:p>
      </dsp:txBody>
      <dsp:txXfrm>
        <a:off x="1435590" y="3107870"/>
        <a:ext cx="9080009" cy="124293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D24F3-7147-4B6A-8D0E-56AD716A6BD8}">
      <dsp:nvSpPr>
        <dsp:cNvPr id="0" name=""/>
        <dsp:cNvSpPr/>
      </dsp:nvSpPr>
      <dsp:spPr>
        <a:xfrm>
          <a:off x="4906438" y="868487"/>
          <a:ext cx="66852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68523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223221" y="910712"/>
        <a:ext cx="34956" cy="6991"/>
      </dsp:txXfrm>
    </dsp:sp>
    <dsp:sp modelId="{73B102BE-14E2-4116-8B12-0123B2838C2F}">
      <dsp:nvSpPr>
        <dsp:cNvPr id="0" name=""/>
        <dsp:cNvSpPr/>
      </dsp:nvSpPr>
      <dsp:spPr>
        <a:xfrm>
          <a:off x="1868572" y="2308"/>
          <a:ext cx="3039665" cy="182379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8946" tIns="156345" rIns="148946" bIns="156345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Aptos Display" panose="020F0302020204030204"/>
            </a:rPr>
            <a:t>Pursue technology solutions that will collect and manage customer behavior</a:t>
          </a:r>
          <a:endParaRPr lang="en-US" sz="1800" kern="1200"/>
        </a:p>
      </dsp:txBody>
      <dsp:txXfrm>
        <a:off x="1868572" y="2308"/>
        <a:ext cx="3039665" cy="1823799"/>
      </dsp:txXfrm>
    </dsp:sp>
    <dsp:sp modelId="{8AF35EB7-2CA4-4C52-B9CA-7C3D3FC9AFD4}">
      <dsp:nvSpPr>
        <dsp:cNvPr id="0" name=""/>
        <dsp:cNvSpPr/>
      </dsp:nvSpPr>
      <dsp:spPr>
        <a:xfrm>
          <a:off x="3388405" y="1824307"/>
          <a:ext cx="3738788" cy="668523"/>
        </a:xfrm>
        <a:custGeom>
          <a:avLst/>
          <a:gdLst/>
          <a:ahLst/>
          <a:cxnLst/>
          <a:rect l="0" t="0" r="0" b="0"/>
          <a:pathLst>
            <a:path>
              <a:moveTo>
                <a:pt x="3738788" y="0"/>
              </a:moveTo>
              <a:lnTo>
                <a:pt x="3738788" y="351361"/>
              </a:lnTo>
              <a:lnTo>
                <a:pt x="0" y="351361"/>
              </a:lnTo>
              <a:lnTo>
                <a:pt x="0" y="668523"/>
              </a:lnTo>
            </a:path>
          </a:pathLst>
        </a:custGeom>
        <a:noFill/>
        <a:ln w="12700" cap="flat" cmpd="sng" algn="ctr">
          <a:solidFill>
            <a:schemeClr val="accent5">
              <a:hueOff val="-12152150"/>
              <a:satOff val="-826"/>
              <a:lumOff val="196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162710" y="2155073"/>
        <a:ext cx="190179" cy="6991"/>
      </dsp:txXfrm>
    </dsp:sp>
    <dsp:sp modelId="{96C04408-1391-4A61-BF30-FEAF8451032F}">
      <dsp:nvSpPr>
        <dsp:cNvPr id="0" name=""/>
        <dsp:cNvSpPr/>
      </dsp:nvSpPr>
      <dsp:spPr>
        <a:xfrm>
          <a:off x="5607361" y="2308"/>
          <a:ext cx="3039665" cy="1823799"/>
        </a:xfrm>
        <a:prstGeom prst="rect">
          <a:avLst/>
        </a:prstGeom>
        <a:solidFill>
          <a:schemeClr val="accent5">
            <a:hueOff val="-6076075"/>
            <a:satOff val="-413"/>
            <a:lumOff val="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8946" tIns="156345" rIns="148946" bIns="156345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Aptos Display" panose="020F0302020204030204"/>
            </a:rPr>
            <a:t>Develop a customization tool that captures customer preferences with built in formulation factors based on customer feedback and market trends</a:t>
          </a:r>
          <a:endParaRPr lang="en-US" sz="1800" kern="1200"/>
        </a:p>
      </dsp:txBody>
      <dsp:txXfrm>
        <a:off x="5607361" y="2308"/>
        <a:ext cx="3039665" cy="1823799"/>
      </dsp:txXfrm>
    </dsp:sp>
    <dsp:sp modelId="{7C57C397-6E48-4741-B0E9-642F9E48A333}">
      <dsp:nvSpPr>
        <dsp:cNvPr id="0" name=""/>
        <dsp:cNvSpPr/>
      </dsp:nvSpPr>
      <dsp:spPr>
        <a:xfrm>
          <a:off x="1868572" y="2525230"/>
          <a:ext cx="3039665" cy="1823799"/>
        </a:xfrm>
        <a:prstGeom prst="rect">
          <a:avLst/>
        </a:prstGeom>
        <a:solidFill>
          <a:schemeClr val="accent5">
            <a:hueOff val="-12152150"/>
            <a:satOff val="-826"/>
            <a:lumOff val="19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8946" tIns="156345" rIns="148946" bIns="156345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Aptos Display" panose="020F0302020204030204"/>
            </a:rPr>
            <a:t>Prioritize</a:t>
          </a:r>
          <a:r>
            <a:rPr lang="en-US" sz="1800" kern="1200" dirty="0"/>
            <a:t> </a:t>
          </a:r>
          <a:r>
            <a:rPr lang="en-US" sz="1800" kern="1200" dirty="0">
              <a:latin typeface="Aptos Display" panose="020F0302020204030204"/>
            </a:rPr>
            <a:t>opportunities </a:t>
          </a:r>
          <a:r>
            <a:rPr lang="en-US" sz="1800" kern="1200" dirty="0" smtClean="0"/>
            <a:t>in </a:t>
          </a:r>
          <a:r>
            <a:rPr lang="en-US" sz="1800" kern="1200" dirty="0"/>
            <a:t>regions that will benefit from tailored products in their distinct market segments</a:t>
          </a:r>
        </a:p>
      </dsp:txBody>
      <dsp:txXfrm>
        <a:off x="1868572" y="2525230"/>
        <a:ext cx="3039665" cy="18237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933-AA2B-B41F-BF68-33895652E2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E919D8-0A5E-F7DF-9C45-2ECA8B9DFA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BBD6C1-6A21-82E0-4CA1-4C4683FB6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5037AF-9439-83E2-84C6-8242F58DE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A345A-EA3A-F31E-AE3A-49A5BB132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6836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298C6-C856-DF02-4C8C-091C41CF2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F9CB8-DE40-F554-18BA-65487EAA48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989593-E0E6-29E3-648E-12184E201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88ED71-63AC-14AC-C84E-ABD68A6AD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D38F32-9174-AB69-243B-625404584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1699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9B24D-662D-9785-95FC-2630B8273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6EA802-180F-6EE4-AFB5-A77FFF04C2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83192-5BB0-1DEB-CCBB-0BF362B20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84726-058F-4143-A7A9-5F17093C3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08805-9775-6725-1AF5-52A81F68A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1572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4FCF1-EDD7-6CB4-D0A7-29A691E3E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87DA89-0CDD-9D05-9DA8-2433C8D994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280B0E-044D-2542-76B0-04080A7A03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DD5D8A-DA39-B777-4777-A28A84615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1F584A-36B2-BFB9-CAE1-FE80F691C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5DEAB-2CE4-F5CD-B61C-960660962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0460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7E1BC-1C06-CB98-13B1-AB784635C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22EDB6-A2B4-30ED-12C2-4C6CA017E3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C34970-9ACF-557C-4240-F1F228BA2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442072-7F53-C743-7C6F-C80B5E3969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BC1488-9B8F-F830-EFBB-79EAB259C2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F03930-80D5-0905-3221-1EAEF298B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0F4CFE-A4E2-50B9-F9D9-FA5902B7E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C06ADD-32AF-A508-87DB-29C0FC30E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91476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F2DAF-E0D3-23EB-2506-6CE056C58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703832-F637-AB9D-416B-D751EF009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6733B-0E98-7957-72CE-C2B989151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79E63B-C4FD-9D3F-1F4D-175FD84A8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75267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817129-9CB8-BF43-EACE-60B42F7CD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FA86A2-B61D-531A-D019-D8D99E30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72C848-6AA1-8C7B-ED23-6AE8E01D5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47630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F5E83-63F5-D8C8-DFD4-6EA4CA045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773517-2C22-FDFA-6150-A2E3F72642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49BA21-B670-85A4-E0F2-E20A6C6B99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4FF55F-4153-3AB7-8F70-8F960AEF2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B6D8B3-31F7-38D6-0A3A-4CC64686C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0339D6-5C56-D40E-FB56-DCEB2C61F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9178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BF7D2-3B01-C023-70DC-12D9437A2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FFF12-F64B-C17D-F70C-966D27D599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D366CC-7E7D-DCEB-DA71-B0FFD0934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B40DEA-0E36-4D9F-0A9D-F77BC9783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371459-08DF-8948-4ECB-6E437821B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807CDF-3B4F-0392-7BF9-DCEBE1EE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8550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91375-F558-D2BE-8D53-8E0B9CB23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5D1605-52DA-0E0E-96C2-FA9C96F124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E8DE8-2ADE-3C20-E031-8D1A99115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DD13F-9B5C-9078-2E14-9A8B33A73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F9BF7-786F-CF8D-7063-1970CCB3D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6142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3F954C-A0DE-F9A1-8889-3530B12730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F7F3DA-00C4-A203-4F53-7605FCDB47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A07910-4CCD-6A1B-F865-E6F76FEEF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038C27-6EED-288D-40B0-CFF5C9007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CC8AA1-C2A3-0AB7-4209-1230F3CD4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5503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592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1645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999152-20C0-18A3-C1B8-66B3972C3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7008E-E5B8-3C40-0FE3-AC0413D443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F7340-B8C1-EB10-179E-55EC6A4355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135B4E8-FB6E-4C67-BA08-F704D2AEAAB8}" type="datetimeFigureOut">
              <a:rPr lang="en-IN" smtClean="0"/>
              <a:t>01-11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81034-6C92-43A2-631A-3E4AAB780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98F2CE-F8DA-C38B-73AC-AFE85EAA3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D77CB4C-1C81-4FF8-93A2-0EC08A7596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0345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lymeradhesives.com/" TargetMode="External"/><Relationship Id="rId2" Type="http://schemas.openxmlformats.org/officeDocument/2006/relationships/hyperlink" Target="https://designpoly.com/additional-documentation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ductsense.com/KioskSelection.aspx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microsoft.com/office/2007/relationships/media" Target="../media/media1.mp4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1.mp4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4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emf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emf"/><Relationship Id="rId2" Type="http://schemas.openxmlformats.org/officeDocument/2006/relationships/tags" Target="../tags/tag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10.vml"/><Relationship Id="rId6" Type="http://schemas.openxmlformats.org/officeDocument/2006/relationships/hyperlink" Target="https://httpsductmateai.involve.me/ductmateai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C790BE2-4E4F-4AAF-81A2-4A6F4885EBE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rgbClr val="00000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-4"/>
            <a:ext cx="12192000" cy="6402581"/>
          </a:xfrm>
          <a:prstGeom prst="rect">
            <a:avLst/>
          </a:prstGeom>
          <a:gradFill>
            <a:gsLst>
              <a:gs pos="1000">
                <a:schemeClr val="accent1">
                  <a:lumMod val="75000"/>
                  <a:alpha val="59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2088DD-B1AD-40E0-8B86-1D87A2CCD9B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2663054" y="-2653923"/>
            <a:ext cx="6858001" cy="12165846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rgbClr val="000000">
                  <a:alpha val="2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94763" y="0"/>
            <a:ext cx="6096001" cy="6858000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chemeClr val="accent1">
                  <a:lumMod val="75000"/>
                  <a:alpha val="50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395952-4E26-45A2-8756-2ADFD6E53C6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" y="-3"/>
            <a:ext cx="12182871" cy="6871922"/>
          </a:xfrm>
          <a:prstGeom prst="rect">
            <a:avLst/>
          </a:prstGeom>
          <a:gradFill>
            <a:gsLst>
              <a:gs pos="13000">
                <a:srgbClr val="000000">
                  <a:alpha val="35000"/>
                </a:srgbClr>
              </a:gs>
              <a:gs pos="99000">
                <a:schemeClr val="accent1">
                  <a:lumMod val="75000"/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BADF-9461-4621-B112-2D7BABEA7DD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7713" y="4049"/>
            <a:ext cx="10216576" cy="4729040"/>
          </a:xfrm>
          <a:custGeom>
            <a:avLst/>
            <a:gdLst>
              <a:gd name="connsiteX0" fmla="*/ 0 w 10216576"/>
              <a:gd name="connsiteY0" fmla="*/ 0 h 4729040"/>
              <a:gd name="connsiteX1" fmla="*/ 10216576 w 10216576"/>
              <a:gd name="connsiteY1" fmla="*/ 0 h 4729040"/>
              <a:gd name="connsiteX2" fmla="*/ 10210268 w 10216576"/>
              <a:gd name="connsiteY2" fmla="*/ 124944 h 4729040"/>
              <a:gd name="connsiteX3" fmla="*/ 5108288 w 10216576"/>
              <a:gd name="connsiteY3" fmla="*/ 4729040 h 4729040"/>
              <a:gd name="connsiteX4" fmla="*/ 6309 w 10216576"/>
              <a:gd name="connsiteY4" fmla="*/ 124944 h 472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6576" h="4729040">
                <a:moveTo>
                  <a:pt x="0" y="0"/>
                </a:moveTo>
                <a:lnTo>
                  <a:pt x="10216576" y="0"/>
                </a:lnTo>
                <a:lnTo>
                  <a:pt x="10210268" y="124944"/>
                </a:lnTo>
                <a:cubicBezTo>
                  <a:pt x="9947637" y="2710997"/>
                  <a:pt x="7763635" y="4729040"/>
                  <a:pt x="5108288" y="4729040"/>
                </a:cubicBezTo>
                <a:cubicBezTo>
                  <a:pt x="2452942" y="4729040"/>
                  <a:pt x="268937" y="2710997"/>
                  <a:pt x="6309" y="124944"/>
                </a:cubicBezTo>
                <a:close/>
              </a:path>
            </a:pathLst>
          </a:custGeom>
          <a:gradFill>
            <a:gsLst>
              <a:gs pos="7000">
                <a:schemeClr val="accent1">
                  <a:lumMod val="50000"/>
                  <a:alpha val="4000"/>
                </a:schemeClr>
              </a:gs>
              <a:gs pos="99000">
                <a:schemeClr val="accent1">
                  <a:alpha val="24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693" y="1030406"/>
            <a:ext cx="8147713" cy="308124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PA-RTF Program &amp; DMI Companies, Inc. Strategic Research Project</a:t>
            </a:r>
            <a:br>
              <a:rPr lang="en-US" sz="4800">
                <a:solidFill>
                  <a:srgbClr val="FFFFFF"/>
                </a:solidFill>
              </a:rPr>
            </a:br>
            <a:endParaRPr lang="en-US" sz="4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943" y="3689680"/>
            <a:ext cx="9078628" cy="234203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Key insights for custom sealant offerings</a:t>
            </a:r>
          </a:p>
          <a:p>
            <a:r>
              <a:rPr lang="en-US" sz="1000">
                <a:solidFill>
                  <a:srgbClr val="FFFFFF"/>
                </a:solidFill>
              </a:rPr>
              <a:t>James Tyler, MBA/MS MIS Dual Degree Candidate</a:t>
            </a:r>
          </a:p>
          <a:p>
            <a:r>
              <a:rPr lang="en-US" sz="1000">
                <a:solidFill>
                  <a:srgbClr val="FFFFFF"/>
                </a:solidFill>
              </a:rPr>
              <a:t>Namrata </a:t>
            </a:r>
            <a:r>
              <a:rPr lang="en-US" sz="1000" err="1">
                <a:solidFill>
                  <a:srgbClr val="FFFFFF"/>
                </a:solidFill>
              </a:rPr>
              <a:t>Duara</a:t>
            </a:r>
            <a:r>
              <a:rPr lang="en-US" sz="1000">
                <a:solidFill>
                  <a:srgbClr val="FFFFFF"/>
                </a:solidFill>
              </a:rPr>
              <a:t>, MS In Management and Business Analytics Candidate</a:t>
            </a:r>
          </a:p>
          <a:p>
            <a:r>
              <a:rPr lang="en-US" sz="1000">
                <a:solidFill>
                  <a:srgbClr val="FFFFFF"/>
                </a:solidFill>
              </a:rPr>
              <a:t>Priyam Somani, MS in Marketing and Business Analytics Candidate</a:t>
            </a:r>
          </a:p>
          <a:p>
            <a:r>
              <a:rPr lang="en-US" sz="1000">
                <a:solidFill>
                  <a:srgbClr val="FFFFFF"/>
                </a:solidFill>
              </a:rPr>
              <a:t>Jagadesh </a:t>
            </a:r>
            <a:r>
              <a:rPr lang="en-US" sz="1000" err="1">
                <a:solidFill>
                  <a:srgbClr val="FFFFFF"/>
                </a:solidFill>
              </a:rPr>
              <a:t>Nagendiran</a:t>
            </a:r>
            <a:r>
              <a:rPr lang="en-US" sz="1000">
                <a:solidFill>
                  <a:srgbClr val="FFFFFF"/>
                </a:solidFill>
              </a:rPr>
              <a:t>, MS in Management Information Systems Candidate</a:t>
            </a:r>
          </a:p>
          <a:p>
            <a:endParaRPr lang="en-US" sz="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058A14AF-9FB5-4CC7-BA35-E8E85D3EDF0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E02D04-06A3-ADE8-8C3C-26D0DC54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314" y="265010"/>
            <a:ext cx="11291948" cy="1320534"/>
          </a:xfrm>
        </p:spPr>
        <p:txBody>
          <a:bodyPr anchor="b">
            <a:normAutofit/>
          </a:bodyPr>
          <a:lstStyle/>
          <a:p>
            <a:r>
              <a:rPr lang="en-US" sz="4100"/>
              <a:t>Customization Fulfills Specific Needs For Customers In Different Reg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35590-5211-D612-7C6D-AAA92EBAF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829" y="3535364"/>
            <a:ext cx="3926030" cy="887890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ptos"/>
                <a:ea typeface="+mn-lt"/>
                <a:cs typeface="+mn-lt"/>
              </a:rPr>
              <a:t>While the country performs well in </a:t>
            </a:r>
            <a:r>
              <a:rPr lang="en-US" sz="2400" b="1">
                <a:latin typeface="Aptos"/>
                <a:ea typeface="+mn-lt"/>
                <a:cs typeface="+mn-lt"/>
              </a:rPr>
              <a:t>product quality</a:t>
            </a:r>
            <a:r>
              <a:rPr lang="en-US" sz="2400">
                <a:latin typeface="Aptos"/>
                <a:ea typeface="+mn-lt"/>
                <a:cs typeface="+mn-lt"/>
              </a:rPr>
              <a:t>, </a:t>
            </a:r>
            <a:r>
              <a:rPr lang="en-US" sz="2400" b="1">
                <a:latin typeface="Aptos"/>
                <a:ea typeface="+mn-lt"/>
                <a:cs typeface="+mn-lt"/>
              </a:rPr>
              <a:t>technical support availability</a:t>
            </a:r>
            <a:r>
              <a:rPr lang="en-US" sz="2400">
                <a:latin typeface="Aptos"/>
                <a:ea typeface="+mn-lt"/>
                <a:cs typeface="+mn-lt"/>
              </a:rPr>
              <a:t>, and </a:t>
            </a:r>
            <a:r>
              <a:rPr lang="en-US" sz="2400" b="1">
                <a:latin typeface="Aptos"/>
                <a:ea typeface="+mn-lt"/>
                <a:cs typeface="+mn-lt"/>
              </a:rPr>
              <a:t>sourcing of eco-friendly products, </a:t>
            </a:r>
            <a:r>
              <a:rPr lang="en-US" sz="2400">
                <a:latin typeface="Aptos"/>
                <a:ea typeface="+mn-lt"/>
                <a:cs typeface="+mn-lt"/>
              </a:rPr>
              <a:t>the </a:t>
            </a:r>
            <a:r>
              <a:rPr lang="en-US" sz="2400" b="1">
                <a:latin typeface="Aptos"/>
                <a:ea typeface="+mn-lt"/>
                <a:cs typeface="+mn-lt"/>
              </a:rPr>
              <a:t>Midwest and Northeast </a:t>
            </a:r>
            <a:r>
              <a:rPr lang="en-US" sz="2400">
                <a:latin typeface="Aptos"/>
                <a:ea typeface="+mn-lt"/>
                <a:cs typeface="+mn-lt"/>
              </a:rPr>
              <a:t>face challenges in those areas. </a:t>
            </a:r>
            <a:endParaRPr lang="en-US" sz="2400">
              <a:latin typeface="Aptos"/>
            </a:endParaRPr>
          </a:p>
          <a:p>
            <a:pPr marL="0" indent="0">
              <a:buNone/>
            </a:pPr>
            <a:endParaRPr lang="en-US" sz="2400" b="1"/>
          </a:p>
        </p:txBody>
      </p:sp>
      <p:pic>
        <p:nvPicPr>
          <p:cNvPr id="7" name="Picture 6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1CA653FE-63B8-C8CB-5681-3D73B533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7555" y="1564170"/>
            <a:ext cx="7747414" cy="4149311"/>
          </a:xfrm>
          <a:prstGeom prst="rect">
            <a:avLst/>
          </a:prstGeom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9890E6B-CA8F-8FDD-9E08-4A77BCC0AD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042009"/>
              </p:ext>
            </p:extLst>
          </p:nvPr>
        </p:nvGraphicFramePr>
        <p:xfrm>
          <a:off x="6614018" y="5959093"/>
          <a:ext cx="4042574" cy="3657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59550">
                  <a:extLst>
                    <a:ext uri="{9D8B030D-6E8A-4147-A177-3AD203B41FA5}">
                      <a16:colId xmlns:a16="http://schemas.microsoft.com/office/drawing/2014/main" val="2254761799"/>
                    </a:ext>
                  </a:extLst>
                </a:gridCol>
                <a:gridCol w="555689">
                  <a:extLst>
                    <a:ext uri="{9D8B030D-6E8A-4147-A177-3AD203B41FA5}">
                      <a16:colId xmlns:a16="http://schemas.microsoft.com/office/drawing/2014/main" val="3932089425"/>
                    </a:ext>
                  </a:extLst>
                </a:gridCol>
                <a:gridCol w="698900">
                  <a:extLst>
                    <a:ext uri="{9D8B030D-6E8A-4147-A177-3AD203B41FA5}">
                      <a16:colId xmlns:a16="http://schemas.microsoft.com/office/drawing/2014/main" val="1346192433"/>
                    </a:ext>
                  </a:extLst>
                </a:gridCol>
                <a:gridCol w="555689">
                  <a:extLst>
                    <a:ext uri="{9D8B030D-6E8A-4147-A177-3AD203B41FA5}">
                      <a16:colId xmlns:a16="http://schemas.microsoft.com/office/drawing/2014/main" val="727035701"/>
                    </a:ext>
                  </a:extLst>
                </a:gridCol>
                <a:gridCol w="1072746">
                  <a:extLst>
                    <a:ext uri="{9D8B030D-6E8A-4147-A177-3AD203B41FA5}">
                      <a16:colId xmlns:a16="http://schemas.microsoft.com/office/drawing/2014/main" val="3786648473"/>
                    </a:ext>
                  </a:extLst>
                </a:gridCol>
              </a:tblGrid>
              <a:tr h="151897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Very Po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Po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Averag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Goo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Excellen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17033"/>
                  </a:ext>
                </a:extLst>
              </a:tr>
              <a:tr h="151897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1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2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3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4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5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160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8649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CD047-6889-20DD-27E0-00EDB9857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286" y="582839"/>
            <a:ext cx="11364685" cy="1347334"/>
          </a:xfrm>
        </p:spPr>
        <p:txBody>
          <a:bodyPr/>
          <a:lstStyle/>
          <a:p>
            <a:r>
              <a:rPr lang="en-US" sz="4100">
                <a:ea typeface="+mj-lt"/>
                <a:cs typeface="+mj-lt"/>
              </a:rPr>
              <a:t>Customization to address lead time challenges across the country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33C224-ACC4-6D3C-18CF-593D383800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2257" y="2282825"/>
            <a:ext cx="3778605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>
                <a:latin typeface="Aptos"/>
              </a:rPr>
              <a:t>Lead time </a:t>
            </a:r>
            <a:r>
              <a:rPr lang="en-US" sz="2400">
                <a:latin typeface="Aptos"/>
              </a:rPr>
              <a:t>seems to be a concern throughout the country. </a:t>
            </a:r>
          </a:p>
          <a:p>
            <a:r>
              <a:rPr lang="en-US" sz="2400">
                <a:latin typeface="Aptos"/>
              </a:rPr>
              <a:t>Customization of sealants would allow DMI to adapt to </a:t>
            </a:r>
            <a:r>
              <a:rPr lang="en-US" sz="2400" b="1">
                <a:latin typeface="Aptos"/>
              </a:rPr>
              <a:t>varying lead times</a:t>
            </a:r>
            <a:r>
              <a:rPr lang="en-US" sz="2400">
                <a:latin typeface="Aptos"/>
              </a:rPr>
              <a:t> and align with </a:t>
            </a:r>
            <a:r>
              <a:rPr lang="en-US" sz="2400" b="1">
                <a:latin typeface="Aptos"/>
              </a:rPr>
              <a:t>regional market dynamics.</a:t>
            </a:r>
            <a:endParaRPr lang="en-US" sz="2400">
              <a:latin typeface="Aptos"/>
            </a:endParaRPr>
          </a:p>
          <a:p>
            <a:endParaRPr lang="en-US" sz="2400">
              <a:latin typeface="Aptos"/>
            </a:endParaRPr>
          </a:p>
          <a:p>
            <a:endParaRPr lang="en-US" sz="2400" b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FE8EEC-B389-8FDA-F54D-1B1B51653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5130" y="1927759"/>
            <a:ext cx="6692348" cy="3598831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83F0CF8-966D-9BEA-4AFC-FF5898E0FC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155451"/>
              </p:ext>
            </p:extLst>
          </p:nvPr>
        </p:nvGraphicFramePr>
        <p:xfrm>
          <a:off x="6614018" y="5959093"/>
          <a:ext cx="4042574" cy="3657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59550">
                  <a:extLst>
                    <a:ext uri="{9D8B030D-6E8A-4147-A177-3AD203B41FA5}">
                      <a16:colId xmlns:a16="http://schemas.microsoft.com/office/drawing/2014/main" val="2254761799"/>
                    </a:ext>
                  </a:extLst>
                </a:gridCol>
                <a:gridCol w="555689">
                  <a:extLst>
                    <a:ext uri="{9D8B030D-6E8A-4147-A177-3AD203B41FA5}">
                      <a16:colId xmlns:a16="http://schemas.microsoft.com/office/drawing/2014/main" val="3932089425"/>
                    </a:ext>
                  </a:extLst>
                </a:gridCol>
                <a:gridCol w="698900">
                  <a:extLst>
                    <a:ext uri="{9D8B030D-6E8A-4147-A177-3AD203B41FA5}">
                      <a16:colId xmlns:a16="http://schemas.microsoft.com/office/drawing/2014/main" val="1346192433"/>
                    </a:ext>
                  </a:extLst>
                </a:gridCol>
                <a:gridCol w="555689">
                  <a:extLst>
                    <a:ext uri="{9D8B030D-6E8A-4147-A177-3AD203B41FA5}">
                      <a16:colId xmlns:a16="http://schemas.microsoft.com/office/drawing/2014/main" val="727035701"/>
                    </a:ext>
                  </a:extLst>
                </a:gridCol>
                <a:gridCol w="1072746">
                  <a:extLst>
                    <a:ext uri="{9D8B030D-6E8A-4147-A177-3AD203B41FA5}">
                      <a16:colId xmlns:a16="http://schemas.microsoft.com/office/drawing/2014/main" val="3786648473"/>
                    </a:ext>
                  </a:extLst>
                </a:gridCol>
              </a:tblGrid>
              <a:tr h="151897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Very Po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Po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Averag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Goo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Excellen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17033"/>
                  </a:ext>
                </a:extLst>
              </a:tr>
              <a:tr h="151897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1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2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3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4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effectLst/>
                        </a:rPr>
                        <a:t>5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160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67160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E31AF8-6B8A-08BD-289C-7E7CF37BE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97" y="348865"/>
            <a:ext cx="11009223" cy="877729"/>
          </a:xfrm>
        </p:spPr>
        <p:txBody>
          <a:bodyPr anchor="ctr">
            <a:normAutofit/>
          </a:bodyPr>
          <a:lstStyle/>
          <a:p>
            <a:r>
              <a:rPr lang="en-US" sz="3400">
                <a:solidFill>
                  <a:srgbClr val="FFFFFF"/>
                </a:solidFill>
                <a:ea typeface="+mj-lt"/>
                <a:cs typeface="+mj-lt"/>
              </a:rPr>
              <a:t>The shift toward water-based and Non-VOC sealants</a:t>
            </a:r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FDE40C4-47E1-97E9-2765-E7C0B3C41B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1510521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0FDE40C4-47E1-97E9-2765-E7C0B3C41B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6075549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511299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" y="0"/>
            <a:ext cx="6099048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704473-C3A4-374D-8A96-5F83D9576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498" y="655782"/>
            <a:ext cx="4284418" cy="14801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bg1"/>
                </a:solidFill>
              </a:rPr>
              <a:t>Competitor Landscap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0" y="0"/>
            <a:ext cx="6095990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39466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Content Placeholder 11" descr="A blue and white logo&#10;&#10;Description automatically generated">
            <a:extLst>
              <a:ext uri="{FF2B5EF4-FFF2-40B4-BE49-F238E27FC236}">
                <a16:creationId xmlns:a16="http://schemas.microsoft.com/office/drawing/2014/main" id="{6A3D1996-FC12-9632-D6C5-AE00415D825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155560" y="2488922"/>
            <a:ext cx="4284416" cy="1446542"/>
          </a:xfrm>
          <a:prstGeom prst="rect">
            <a:avLst/>
          </a:prstGeom>
        </p:spPr>
      </p:pic>
      <p:pic>
        <p:nvPicPr>
          <p:cNvPr id="14" name="Content Placeholder 10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0D30EA65-BA17-D2E7-EC2C-A394B4D06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6211" y="2684129"/>
            <a:ext cx="4305825" cy="1069032"/>
          </a:xfrm>
          <a:prstGeom prst="rect">
            <a:avLst/>
          </a:prstGeom>
        </p:spPr>
      </p:pic>
      <p:pic>
        <p:nvPicPr>
          <p:cNvPr id="16" name="Content Placeholder 11" descr="A grey and white logo&#10;&#10;Description automatically generated">
            <a:extLst>
              <a:ext uri="{FF2B5EF4-FFF2-40B4-BE49-F238E27FC236}">
                <a16:creationId xmlns:a16="http://schemas.microsoft.com/office/drawing/2014/main" id="{50D80A5C-E65F-580F-C724-ECC887866F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5560" y="4532364"/>
            <a:ext cx="4284415" cy="1470019"/>
          </a:xfrm>
          <a:prstGeom prst="rect">
            <a:avLst/>
          </a:prstGeom>
        </p:spPr>
      </p:pic>
      <p:pic>
        <p:nvPicPr>
          <p:cNvPr id="11" name="Content Placeholder 10" descr="A black and white logo&#10;&#10;Description automatically generated">
            <a:extLst>
              <a:ext uri="{FF2B5EF4-FFF2-40B4-BE49-F238E27FC236}">
                <a16:creationId xmlns:a16="http://schemas.microsoft.com/office/drawing/2014/main" id="{2D4BF487-4DBA-67AE-64CC-C83DA91F8EB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6746211" y="4729145"/>
            <a:ext cx="4305825" cy="107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362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5F17139-31EE-46AC-B04F-DBBD852DD6C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0887B-0001-8D83-010F-052BACF11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1088" y="565739"/>
            <a:ext cx="9745883" cy="1124949"/>
          </a:xfrm>
        </p:spPr>
        <p:txBody>
          <a:bodyPr>
            <a:normAutofit/>
          </a:bodyPr>
          <a:lstStyle/>
          <a:p>
            <a:r>
              <a:rPr lang="en-US" sz="3700">
                <a:solidFill>
                  <a:schemeClr val="bg1"/>
                </a:solidFill>
                <a:ea typeface="+mj-lt"/>
                <a:cs typeface="+mj-lt"/>
              </a:rPr>
              <a:t>How Do Competitors Approach Customization?</a:t>
            </a:r>
            <a:endParaRPr lang="en-US" sz="3700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AD42DD4-86F6-4FD2-869F-32D35E310CF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81037"/>
            <a:ext cx="1170294" cy="274629"/>
          </a:xfrm>
          <a:custGeom>
            <a:avLst/>
            <a:gdLst>
              <a:gd name="connsiteX0" fmla="*/ 453342 w 1170294"/>
              <a:gd name="connsiteY0" fmla="*/ 0 h 274629"/>
              <a:gd name="connsiteX1" fmla="*/ 689085 w 1170294"/>
              <a:gd name="connsiteY1" fmla="*/ 235744 h 274629"/>
              <a:gd name="connsiteX2" fmla="*/ 924829 w 1170294"/>
              <a:gd name="connsiteY2" fmla="*/ 0 h 274629"/>
              <a:gd name="connsiteX3" fmla="*/ 1170294 w 1170294"/>
              <a:gd name="connsiteY3" fmla="*/ 245465 h 274629"/>
              <a:gd name="connsiteX4" fmla="*/ 1153282 w 1170294"/>
              <a:gd name="connsiteY4" fmla="*/ 264908 h 274629"/>
              <a:gd name="connsiteX5" fmla="*/ 924829 w 1170294"/>
              <a:gd name="connsiteY5" fmla="*/ 38885 h 274629"/>
              <a:gd name="connsiteX6" fmla="*/ 689085 w 1170294"/>
              <a:gd name="connsiteY6" fmla="*/ 274629 h 274629"/>
              <a:gd name="connsiteX7" fmla="*/ 453342 w 1170294"/>
              <a:gd name="connsiteY7" fmla="*/ 38885 h 274629"/>
              <a:gd name="connsiteX8" fmla="*/ 215168 w 1170294"/>
              <a:gd name="connsiteY8" fmla="*/ 274629 h 274629"/>
              <a:gd name="connsiteX9" fmla="*/ 0 w 1170294"/>
              <a:gd name="connsiteY9" fmla="*/ 59462 h 274629"/>
              <a:gd name="connsiteX10" fmla="*/ 0 w 1170294"/>
              <a:gd name="connsiteY10" fmla="*/ 20577 h 274629"/>
              <a:gd name="connsiteX11" fmla="*/ 215168 w 1170294"/>
              <a:gd name="connsiteY11" fmla="*/ 235744 h 27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70294" h="274629">
                <a:moveTo>
                  <a:pt x="453342" y="0"/>
                </a:moveTo>
                <a:lnTo>
                  <a:pt x="689085" y="235744"/>
                </a:lnTo>
                <a:lnTo>
                  <a:pt x="924829" y="0"/>
                </a:lnTo>
                <a:lnTo>
                  <a:pt x="1170294" y="245465"/>
                </a:lnTo>
                <a:lnTo>
                  <a:pt x="1153282" y="264908"/>
                </a:lnTo>
                <a:lnTo>
                  <a:pt x="924829" y="38885"/>
                </a:lnTo>
                <a:lnTo>
                  <a:pt x="689085" y="274629"/>
                </a:lnTo>
                <a:lnTo>
                  <a:pt x="453342" y="38885"/>
                </a:lnTo>
                <a:lnTo>
                  <a:pt x="215168" y="274629"/>
                </a:lnTo>
                <a:lnTo>
                  <a:pt x="0" y="59462"/>
                </a:lnTo>
                <a:lnTo>
                  <a:pt x="0" y="20577"/>
                </a:lnTo>
                <a:lnTo>
                  <a:pt x="215168" y="235744"/>
                </a:ln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C36B8C5-0DEB-41B5-911D-572E2E835E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16069"/>
            <a:ext cx="1170294" cy="274629"/>
          </a:xfrm>
          <a:custGeom>
            <a:avLst/>
            <a:gdLst>
              <a:gd name="connsiteX0" fmla="*/ 453342 w 1170294"/>
              <a:gd name="connsiteY0" fmla="*/ 0 h 274629"/>
              <a:gd name="connsiteX1" fmla="*/ 689085 w 1170294"/>
              <a:gd name="connsiteY1" fmla="*/ 238174 h 274629"/>
              <a:gd name="connsiteX2" fmla="*/ 924829 w 1170294"/>
              <a:gd name="connsiteY2" fmla="*/ 0 h 274629"/>
              <a:gd name="connsiteX3" fmla="*/ 1170294 w 1170294"/>
              <a:gd name="connsiteY3" fmla="*/ 247895 h 274629"/>
              <a:gd name="connsiteX4" fmla="*/ 1153282 w 1170294"/>
              <a:gd name="connsiteY4" fmla="*/ 264908 h 274629"/>
              <a:gd name="connsiteX5" fmla="*/ 924829 w 1170294"/>
              <a:gd name="connsiteY5" fmla="*/ 38885 h 274629"/>
              <a:gd name="connsiteX6" fmla="*/ 689085 w 1170294"/>
              <a:gd name="connsiteY6" fmla="*/ 274629 h 274629"/>
              <a:gd name="connsiteX7" fmla="*/ 453342 w 1170294"/>
              <a:gd name="connsiteY7" fmla="*/ 38885 h 274629"/>
              <a:gd name="connsiteX8" fmla="*/ 215168 w 1170294"/>
              <a:gd name="connsiteY8" fmla="*/ 274629 h 274629"/>
              <a:gd name="connsiteX9" fmla="*/ 0 w 1170294"/>
              <a:gd name="connsiteY9" fmla="*/ 59462 h 274629"/>
              <a:gd name="connsiteX10" fmla="*/ 0 w 1170294"/>
              <a:gd name="connsiteY10" fmla="*/ 20789 h 274629"/>
              <a:gd name="connsiteX11" fmla="*/ 215168 w 1170294"/>
              <a:gd name="connsiteY11" fmla="*/ 238174 h 27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70294" h="274629">
                <a:moveTo>
                  <a:pt x="453342" y="0"/>
                </a:moveTo>
                <a:lnTo>
                  <a:pt x="689085" y="238174"/>
                </a:lnTo>
                <a:lnTo>
                  <a:pt x="924829" y="0"/>
                </a:lnTo>
                <a:lnTo>
                  <a:pt x="1170294" y="247895"/>
                </a:lnTo>
                <a:lnTo>
                  <a:pt x="1153282" y="264908"/>
                </a:lnTo>
                <a:lnTo>
                  <a:pt x="924829" y="38885"/>
                </a:lnTo>
                <a:lnTo>
                  <a:pt x="689085" y="274629"/>
                </a:lnTo>
                <a:lnTo>
                  <a:pt x="453342" y="38885"/>
                </a:lnTo>
                <a:lnTo>
                  <a:pt x="215168" y="274629"/>
                </a:lnTo>
                <a:lnTo>
                  <a:pt x="0" y="59462"/>
                </a:lnTo>
                <a:lnTo>
                  <a:pt x="0" y="20789"/>
                </a:lnTo>
                <a:lnTo>
                  <a:pt x="215168" y="2381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DC987A-A8C7-4C23-9BF5-33E9F6F21DC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6766" y="2256427"/>
            <a:ext cx="10855283" cy="3963398"/>
          </a:xfrm>
          <a:prstGeom prst="rect">
            <a:avLst/>
          </a:prstGeom>
          <a:solidFill>
            <a:srgbClr val="FFFFF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13F2CF-C6DF-4CE1-A6F0-E3B1BFBB0B2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2256427"/>
            <a:ext cx="10853849" cy="3955009"/>
          </a:xfrm>
          <a:prstGeom prst="rect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325C15-4820-4911-B66E-A5F917CFAE5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35106" y="2125615"/>
            <a:ext cx="10855283" cy="397476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1B263C3-039D-79C8-458F-EFD892FDB18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2733817"/>
              </p:ext>
            </p:extLst>
          </p:nvPr>
        </p:nvGraphicFramePr>
        <p:xfrm>
          <a:off x="1093694" y="2971218"/>
          <a:ext cx="10260108" cy="22803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488">
                  <a:extLst>
                    <a:ext uri="{9D8B030D-6E8A-4147-A177-3AD203B41FA5}">
                      <a16:colId xmlns:a16="http://schemas.microsoft.com/office/drawing/2014/main" val="1883859502"/>
                    </a:ext>
                  </a:extLst>
                </a:gridCol>
                <a:gridCol w="3366102">
                  <a:extLst>
                    <a:ext uri="{9D8B030D-6E8A-4147-A177-3AD203B41FA5}">
                      <a16:colId xmlns:a16="http://schemas.microsoft.com/office/drawing/2014/main" val="1361925859"/>
                    </a:ext>
                  </a:extLst>
                </a:gridCol>
                <a:gridCol w="3408518">
                  <a:extLst>
                    <a:ext uri="{9D8B030D-6E8A-4147-A177-3AD203B41FA5}">
                      <a16:colId xmlns:a16="http://schemas.microsoft.com/office/drawing/2014/main" val="4005331794"/>
                    </a:ext>
                  </a:extLst>
                </a:gridCol>
              </a:tblGrid>
              <a:tr h="49264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200"/>
                        <a:t>Design Polymerics</a:t>
                      </a:r>
                    </a:p>
                  </a:txBody>
                  <a:tcPr marL="111965" marR="111965" marT="55982" marB="55982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Polymer Adhesives</a:t>
                      </a:r>
                    </a:p>
                  </a:txBody>
                  <a:tcPr marL="111965" marR="111965" marT="55982" marB="55982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Carlisle HVAC (</a:t>
                      </a:r>
                      <a:r>
                        <a:rPr lang="en-US" sz="2200" err="1"/>
                        <a:t>Hardcast</a:t>
                      </a:r>
                      <a:r>
                        <a:rPr lang="en-US" sz="2200"/>
                        <a:t>)</a:t>
                      </a:r>
                    </a:p>
                  </a:txBody>
                  <a:tcPr marL="111965" marR="111965" marT="55982" marB="55982"/>
                </a:tc>
                <a:extLst>
                  <a:ext uri="{0D108BD9-81ED-4DB2-BD59-A6C34878D82A}">
                    <a16:rowId xmlns:a16="http://schemas.microsoft.com/office/drawing/2014/main" val="1682012210"/>
                  </a:ext>
                </a:extLst>
              </a:tr>
              <a:tr h="1500326">
                <a:tc>
                  <a:txBody>
                    <a:bodyPr/>
                    <a:lstStyle/>
                    <a:p>
                      <a:r>
                        <a:rPr lang="en-US" sz="2200"/>
                        <a:t>Implies custom formulations online but not really</a:t>
                      </a:r>
                    </a:p>
                  </a:txBody>
                  <a:tcPr marL="111965" marR="111965" marT="55982" marB="55982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Promotes Custom Formulation with a hyperlink but not interactive</a:t>
                      </a:r>
                    </a:p>
                  </a:txBody>
                  <a:tcPr marL="111965" marR="111965" marT="55982" marB="55982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Features an interactive selection tool but focuses on savings not custom formulation</a:t>
                      </a:r>
                    </a:p>
                  </a:txBody>
                  <a:tcPr marL="111965" marR="111965" marT="55982" marB="55982"/>
                </a:tc>
                <a:extLst>
                  <a:ext uri="{0D108BD9-81ED-4DB2-BD59-A6C34878D82A}">
                    <a16:rowId xmlns:a16="http://schemas.microsoft.com/office/drawing/2014/main" val="3006481329"/>
                  </a:ext>
                </a:extLst>
              </a:tr>
              <a:tr h="28737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>
                          <a:hlinkClick r:id="rId2"/>
                        </a:rPr>
                        <a:t>example</a:t>
                      </a:r>
                      <a:endParaRPr lang="en-US" sz="900"/>
                    </a:p>
                  </a:txBody>
                  <a:tcPr marL="111965" marR="111965" marT="55982" marB="55982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>
                          <a:hlinkClick r:id="rId3"/>
                        </a:rPr>
                        <a:t>example</a:t>
                      </a:r>
                      <a:endParaRPr lang="en-US" sz="900"/>
                    </a:p>
                  </a:txBody>
                  <a:tcPr marL="111965" marR="111965" marT="55982" marB="55982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example</a:t>
                      </a:r>
                      <a:endParaRPr lang="en-US" sz="900"/>
                    </a:p>
                  </a:txBody>
                  <a:tcPr marL="111965" marR="111965" marT="55982" marB="55982" anchor="ctr"/>
                </a:tc>
                <a:extLst>
                  <a:ext uri="{0D108BD9-81ED-4DB2-BD59-A6C34878D82A}">
                    <a16:rowId xmlns:a16="http://schemas.microsoft.com/office/drawing/2014/main" val="1498051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27970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B9928-C32A-2165-3E86-809DD6C32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5000"/>
              <a:t>Ductmate Stands Out With Customization Too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Content Placeholder 2">
            <a:extLst>
              <a:ext uri="{FF2B5EF4-FFF2-40B4-BE49-F238E27FC236}">
                <a16:creationId xmlns:a16="http://schemas.microsoft.com/office/drawing/2014/main" id="{5A2DD876-62A0-ADD0-919D-3B837547E2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52850928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553485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1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A47751-A5C7-06C2-7CD5-A7FF720A1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magining the possibilities of customization</a:t>
            </a:r>
          </a:p>
        </p:txBody>
      </p:sp>
      <p:pic>
        <p:nvPicPr>
          <p:cNvPr id="4" name="Product Selector">
            <a:hlinkClick r:id="" action="ppaction://media"/>
          </p:cNvPr>
          <p:cNvPicPr>
            <a:picLocks noGrp="1" noChangeAspect="1"/>
          </p:cNvPicPr>
          <p:nvPr>
            <p:ph idx="1"/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" y="1335741"/>
            <a:ext cx="12192000" cy="5154706"/>
          </a:xfrm>
        </p:spPr>
      </p:pic>
    </p:spTree>
    <p:extLst>
      <p:ext uri="{BB962C8B-B14F-4D97-AF65-F5344CB8AC3E}">
        <p14:creationId xmlns:p14="http://schemas.microsoft.com/office/powerpoint/2010/main" val="3596057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DE5A4-8866-D2AE-E71F-FA51EC4C6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graphicFrame>
        <p:nvGraphicFramePr>
          <p:cNvPr id="12" name="Content Placeholder 2">
            <a:extLst>
              <a:ext uri="{FF2B5EF4-FFF2-40B4-BE49-F238E27FC236}">
                <a16:creationId xmlns:a16="http://schemas.microsoft.com/office/drawing/2014/main" id="{84C5BA18-0217-D164-295F-3D538D98713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533416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228552E-C8B1-4A80-8448-0787CE0FC70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5073AC-E881-DF4E-587A-130CAF37E48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 r="-2" b="-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7D9EAB-9AC6-CFB5-E246-F9F685A61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Next Step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6A6DFE2-A4CE-17E5-A1EF-DFE5D121FD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085248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87047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5219498-D544-41AC-98FE-8F956EF66A6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00DBFC-17A9-4E0A-AEE2-A49F9AEEF0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C080F7-4948-FFF5-8FCB-57241AC6B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4267832"/>
            <a:ext cx="4805996" cy="129711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4613BB-817C-4C4F-8A24-4936F2F064C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101023" y="52996"/>
            <a:ext cx="6093363" cy="6805005"/>
            <a:chOff x="6101023" y="52996"/>
            <a:chExt cx="6093363" cy="6805005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26C820D-9A01-44F0-AE18-C2DAB089B8C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3517682 w 5890490"/>
                <a:gd name="connsiteY0" fmla="*/ 0 h 6578439"/>
                <a:gd name="connsiteX1" fmla="*/ 5849513 w 5890490"/>
                <a:gd name="connsiteY1" fmla="*/ 841730 h 6578439"/>
                <a:gd name="connsiteX2" fmla="*/ 5890490 w 5890490"/>
                <a:gd name="connsiteY2" fmla="*/ 879060 h 6578439"/>
                <a:gd name="connsiteX3" fmla="*/ 5890490 w 5890490"/>
                <a:gd name="connsiteY3" fmla="*/ 1816052 h 6578439"/>
                <a:gd name="connsiteX4" fmla="*/ 5856961 w 5890490"/>
                <a:gd name="connsiteY4" fmla="*/ 1771023 h 6578439"/>
                <a:gd name="connsiteX5" fmla="*/ 5655397 w 5890490"/>
                <a:gd name="connsiteY5" fmla="*/ 1548813 h 6578439"/>
                <a:gd name="connsiteX6" fmla="*/ 3517682 w 5890490"/>
                <a:gd name="connsiteY6" fmla="*/ 658717 h 6578439"/>
                <a:gd name="connsiteX7" fmla="*/ 2395696 w 5890490"/>
                <a:gd name="connsiteY7" fmla="*/ 850721 h 6578439"/>
                <a:gd name="connsiteX8" fmla="*/ 1519955 w 5890490"/>
                <a:gd name="connsiteY8" fmla="*/ 1450441 h 6578439"/>
                <a:gd name="connsiteX9" fmla="*/ 1223630 w 5890490"/>
                <a:gd name="connsiteY9" fmla="*/ 1841430 h 6578439"/>
                <a:gd name="connsiteX10" fmla="*/ 1075857 w 5890490"/>
                <a:gd name="connsiteY10" fmla="*/ 2329343 h 6578439"/>
                <a:gd name="connsiteX11" fmla="*/ 731010 w 5890490"/>
                <a:gd name="connsiteY11" fmla="*/ 3483744 h 6578439"/>
                <a:gd name="connsiteX12" fmla="*/ 741000 w 5890490"/>
                <a:gd name="connsiteY12" fmla="*/ 4479719 h 6578439"/>
                <a:gd name="connsiteX13" fmla="*/ 1315615 w 5890490"/>
                <a:gd name="connsiteY13" fmla="*/ 5443827 h 6578439"/>
                <a:gd name="connsiteX14" fmla="*/ 2277503 w 5890490"/>
                <a:gd name="connsiteY14" fmla="*/ 6259386 h 6578439"/>
                <a:gd name="connsiteX15" fmla="*/ 3439448 w 5890490"/>
                <a:gd name="connsiteY15" fmla="*/ 6551739 h 6578439"/>
                <a:gd name="connsiteX16" fmla="*/ 4408732 w 5890490"/>
                <a:gd name="connsiteY16" fmla="*/ 6255172 h 6578439"/>
                <a:gd name="connsiteX17" fmla="*/ 5343243 w 5890490"/>
                <a:gd name="connsiteY17" fmla="*/ 5442509 h 6578439"/>
                <a:gd name="connsiteX18" fmla="*/ 5745566 w 5890490"/>
                <a:gd name="connsiteY18" fmla="*/ 5056656 h 6578439"/>
                <a:gd name="connsiteX19" fmla="*/ 5890490 w 5890490"/>
                <a:gd name="connsiteY19" fmla="*/ 4920880 h 6578439"/>
                <a:gd name="connsiteX20" fmla="*/ 5890490 w 5890490"/>
                <a:gd name="connsiteY20" fmla="*/ 5821966 h 6578439"/>
                <a:gd name="connsiteX21" fmla="*/ 5802002 w 5890490"/>
                <a:gd name="connsiteY21" fmla="*/ 5907904 h 6578439"/>
                <a:gd name="connsiteX22" fmla="*/ 5294358 w 5890490"/>
                <a:gd name="connsiteY22" fmla="*/ 6397505 h 6578439"/>
                <a:gd name="connsiteX23" fmla="*/ 5077178 w 5890490"/>
                <a:gd name="connsiteY23" fmla="*/ 6578439 h 6578439"/>
                <a:gd name="connsiteX24" fmla="*/ 1567290 w 5890490"/>
                <a:gd name="connsiteY24" fmla="*/ 6578439 h 6578439"/>
                <a:gd name="connsiteX25" fmla="*/ 1508588 w 5890490"/>
                <a:gd name="connsiteY25" fmla="*/ 6535186 h 6578439"/>
                <a:gd name="connsiteX26" fmla="*/ 826498 w 5890490"/>
                <a:gd name="connsiteY26" fmla="*/ 5876034 h 6578439"/>
                <a:gd name="connsiteX27" fmla="*/ 122403 w 5890490"/>
                <a:gd name="connsiteY27" fmla="*/ 3255655 h 6578439"/>
                <a:gd name="connsiteX28" fmla="*/ 1061197 w 5890490"/>
                <a:gd name="connsiteY28" fmla="*/ 984650 h 6578439"/>
                <a:gd name="connsiteX29" fmla="*/ 3517682 w 5890490"/>
                <a:gd name="connsiteY29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890490" h="6578439">
                  <a:moveTo>
                    <a:pt x="3517682" y="0"/>
                  </a:moveTo>
                  <a:cubicBezTo>
                    <a:pt x="4402016" y="0"/>
                    <a:pt x="5213741" y="315483"/>
                    <a:pt x="5849513" y="841730"/>
                  </a:cubicBezTo>
                  <a:lnTo>
                    <a:pt x="5890490" y="879060"/>
                  </a:lnTo>
                  <a:lnTo>
                    <a:pt x="5890490" y="1816052"/>
                  </a:lnTo>
                  <a:lnTo>
                    <a:pt x="5856961" y="1771023"/>
                  </a:lnTo>
                  <a:cubicBezTo>
                    <a:pt x="5793650" y="1694076"/>
                    <a:pt x="5726429" y="1619959"/>
                    <a:pt x="5655397" y="1548813"/>
                  </a:cubicBezTo>
                  <a:cubicBezTo>
                    <a:pt x="5082208" y="974906"/>
                    <a:pt x="4322973" y="658717"/>
                    <a:pt x="3517682" y="658717"/>
                  </a:cubicBezTo>
                  <a:cubicBezTo>
                    <a:pt x="3085520" y="658717"/>
                    <a:pt x="2718488" y="721533"/>
                    <a:pt x="2395696" y="850721"/>
                  </a:cubicBezTo>
                  <a:cubicBezTo>
                    <a:pt x="2079132" y="977407"/>
                    <a:pt x="1792668" y="1173626"/>
                    <a:pt x="1519955" y="1450441"/>
                  </a:cubicBezTo>
                  <a:cubicBezTo>
                    <a:pt x="1330275" y="1642840"/>
                    <a:pt x="1263719" y="1756094"/>
                    <a:pt x="1223630" y="1841430"/>
                  </a:cubicBezTo>
                  <a:cubicBezTo>
                    <a:pt x="1166545" y="1962981"/>
                    <a:pt x="1128532" y="2116663"/>
                    <a:pt x="1075857" y="2329343"/>
                  </a:cubicBezTo>
                  <a:cubicBezTo>
                    <a:pt x="1008652" y="2601153"/>
                    <a:pt x="916537" y="2973574"/>
                    <a:pt x="731010" y="3483744"/>
                  </a:cubicBezTo>
                  <a:cubicBezTo>
                    <a:pt x="617488" y="3795981"/>
                    <a:pt x="620731" y="4121653"/>
                    <a:pt x="741000" y="4479719"/>
                  </a:cubicBezTo>
                  <a:cubicBezTo>
                    <a:pt x="847257" y="4796172"/>
                    <a:pt x="1045888" y="5129481"/>
                    <a:pt x="1315615" y="5443827"/>
                  </a:cubicBezTo>
                  <a:cubicBezTo>
                    <a:pt x="1630753" y="5810980"/>
                    <a:pt x="1945371" y="6077784"/>
                    <a:pt x="2277503" y="6259386"/>
                  </a:cubicBezTo>
                  <a:cubicBezTo>
                    <a:pt x="2637530" y="6456133"/>
                    <a:pt x="3017536" y="6551739"/>
                    <a:pt x="3439448" y="6551739"/>
                  </a:cubicBezTo>
                  <a:cubicBezTo>
                    <a:pt x="3781571" y="6551739"/>
                    <a:pt x="4089573" y="6457449"/>
                    <a:pt x="4408732" y="6255172"/>
                  </a:cubicBezTo>
                  <a:cubicBezTo>
                    <a:pt x="4738010" y="6046310"/>
                    <a:pt x="5050941" y="5739207"/>
                    <a:pt x="5343243" y="5442509"/>
                  </a:cubicBezTo>
                  <a:cubicBezTo>
                    <a:pt x="5479860" y="5303970"/>
                    <a:pt x="5614918" y="5178206"/>
                    <a:pt x="5745566" y="5056656"/>
                  </a:cubicBezTo>
                  <a:lnTo>
                    <a:pt x="5890490" y="4920880"/>
                  </a:lnTo>
                  <a:lnTo>
                    <a:pt x="5890490" y="5821966"/>
                  </a:lnTo>
                  <a:lnTo>
                    <a:pt x="5802002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58B604F-996E-4349-B131-E04ED285D8D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5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7CCEAF3-651B-4605-AE58-F96E2270363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3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/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D519330-E5F1-4248-B58C-1AA0D9E6DAB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Graphic 6" descr="Smiling Face with No Fill">
            <a:extLst>
              <a:ext uri="{FF2B5EF4-FFF2-40B4-BE49-F238E27FC236}">
                <a16:creationId xmlns:a16="http://schemas.microsoft.com/office/drawing/2014/main" id="{59EDBE83-07C5-7622-0C5B-E7C3FBC708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729652" y="1859078"/>
            <a:ext cx="3821102" cy="382110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273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C541B88-1AE9-40C3-AFD5-967787C197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F17139-31EE-46AC-B04F-DBBD852DD6C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8905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" name="Rectangle 8">
            <a:extLst>
              <a:ext uri="{FF2B5EF4-FFF2-40B4-BE49-F238E27FC236}">
                <a16:creationId xmlns:a16="http://schemas.microsoft.com/office/drawing/2014/main" id="{0C541B88-1AE9-40C3-AFD5-967787C197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E5F17139-31EE-46AC-B04F-DBBD852DD6C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8905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D3A902-72BE-09AA-EAA6-13D88E10B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5697"/>
            <a:ext cx="3200400" cy="4238118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bg1"/>
                </a:solidFill>
              </a:rPr>
              <a:t>Executive Summary</a:t>
            </a:r>
          </a:p>
        </p:txBody>
      </p:sp>
      <p:grpSp>
        <p:nvGrpSpPr>
          <p:cNvPr id="13" name="Graphic 38">
            <a:extLst>
              <a:ext uri="{FF2B5EF4-FFF2-40B4-BE49-F238E27FC236}">
                <a16:creationId xmlns:a16="http://schemas.microsoft.com/office/drawing/2014/main" id="{7CF625D3-71A3-4F30-A096-8EF334E959D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02912"/>
            <a:ext cx="1910252" cy="709660"/>
            <a:chOff x="2267504" y="2540250"/>
            <a:chExt cx="1990951" cy="739640"/>
          </a:xfrm>
          <a:solidFill>
            <a:schemeClr val="bg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754E2F-F56E-4BA3-99DD-8EBF110E343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54025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5835 h 286230"/>
                <a:gd name="connsiteX8" fmla="*/ 255835 w 1990951"/>
                <a:gd name="connsiteY8" fmla="*/ 0 h 286230"/>
                <a:gd name="connsiteX9" fmla="*/ 504071 w 1990951"/>
                <a:gd name="connsiteY9" fmla="*/ 245703 h 286230"/>
                <a:gd name="connsiteX10" fmla="*/ 749773 w 1990951"/>
                <a:gd name="connsiteY10" fmla="*/ 0 h 286230"/>
                <a:gd name="connsiteX11" fmla="*/ 995476 w 1990951"/>
                <a:gd name="connsiteY11" fmla="*/ 245703 h 286230"/>
                <a:gd name="connsiteX12" fmla="*/ 1243712 w 1990951"/>
                <a:gd name="connsiteY12" fmla="*/ 0 h 286230"/>
                <a:gd name="connsiteX13" fmla="*/ 1489414 w 1990951"/>
                <a:gd name="connsiteY13" fmla="*/ 245703 h 286230"/>
                <a:gd name="connsiteX14" fmla="*/ 1735117 w 1990951"/>
                <a:gd name="connsiteY14" fmla="*/ 0 h 286230"/>
                <a:gd name="connsiteX15" fmla="*/ 1990952 w 1990951"/>
                <a:gd name="connsiteY15" fmla="*/ 255835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5835"/>
                  </a:lnTo>
                  <a:lnTo>
                    <a:pt x="255835" y="0"/>
                  </a:lnTo>
                  <a:lnTo>
                    <a:pt x="504071" y="245703"/>
                  </a:lnTo>
                  <a:lnTo>
                    <a:pt x="749773" y="0"/>
                  </a:lnTo>
                  <a:lnTo>
                    <a:pt x="995476" y="245703"/>
                  </a:lnTo>
                  <a:lnTo>
                    <a:pt x="1243712" y="0"/>
                  </a:lnTo>
                  <a:lnTo>
                    <a:pt x="1489414" y="245703"/>
                  </a:lnTo>
                  <a:lnTo>
                    <a:pt x="1735117" y="0"/>
                  </a:lnTo>
                  <a:lnTo>
                    <a:pt x="1990952" y="255835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4A69059-7C49-49C6-B071-F2A9B558E0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99366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8368 h 286230"/>
                <a:gd name="connsiteX8" fmla="*/ 255835 w 1990951"/>
                <a:gd name="connsiteY8" fmla="*/ 0 h 286230"/>
                <a:gd name="connsiteX9" fmla="*/ 504071 w 1990951"/>
                <a:gd name="connsiteY9" fmla="*/ 248236 h 286230"/>
                <a:gd name="connsiteX10" fmla="*/ 749773 w 1990951"/>
                <a:gd name="connsiteY10" fmla="*/ 0 h 286230"/>
                <a:gd name="connsiteX11" fmla="*/ 995476 w 1990951"/>
                <a:gd name="connsiteY11" fmla="*/ 248236 h 286230"/>
                <a:gd name="connsiteX12" fmla="*/ 1243712 w 1990951"/>
                <a:gd name="connsiteY12" fmla="*/ 0 h 286230"/>
                <a:gd name="connsiteX13" fmla="*/ 1489414 w 1990951"/>
                <a:gd name="connsiteY13" fmla="*/ 248236 h 286230"/>
                <a:gd name="connsiteX14" fmla="*/ 1735117 w 1990951"/>
                <a:gd name="connsiteY14" fmla="*/ 0 h 286230"/>
                <a:gd name="connsiteX15" fmla="*/ 1990952 w 1990951"/>
                <a:gd name="connsiteY15" fmla="*/ 258368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8368"/>
                  </a:lnTo>
                  <a:lnTo>
                    <a:pt x="255835" y="0"/>
                  </a:lnTo>
                  <a:lnTo>
                    <a:pt x="504071" y="248236"/>
                  </a:lnTo>
                  <a:lnTo>
                    <a:pt x="749773" y="0"/>
                  </a:lnTo>
                  <a:lnTo>
                    <a:pt x="995476" y="248236"/>
                  </a:lnTo>
                  <a:lnTo>
                    <a:pt x="1243712" y="0"/>
                  </a:lnTo>
                  <a:lnTo>
                    <a:pt x="1489414" y="248236"/>
                  </a:lnTo>
                  <a:lnTo>
                    <a:pt x="1735117" y="0"/>
                  </a:lnTo>
                  <a:lnTo>
                    <a:pt x="1990952" y="258368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89D16701-DA76-4F72-BB63-E2C3FFBDFE0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C28BE1-9DC6-43FE-9582-39F091098D7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chemeClr val="accent6">
              <a:alpha val="3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1" name="Graphic 4">
            <a:extLst>
              <a:ext uri="{FF2B5EF4-FFF2-40B4-BE49-F238E27FC236}">
                <a16:creationId xmlns:a16="http://schemas.microsoft.com/office/drawing/2014/main" id="{AF9AF3F3-CE0C-4125-BDD7-346487FA0B4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109667" y="5539934"/>
            <a:ext cx="975169" cy="975171"/>
            <a:chOff x="5829300" y="3162300"/>
            <a:chExt cx="532256" cy="532257"/>
          </a:xfrm>
          <a:solidFill>
            <a:schemeClr val="bg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31DFBFA-CF4D-4940-9086-26F83E5C6BB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9208" y="3192208"/>
              <a:ext cx="112966" cy="112966"/>
            </a:xfrm>
            <a:custGeom>
              <a:avLst/>
              <a:gdLst>
                <a:gd name="connsiteX0" fmla="*/ 112967 w 112966"/>
                <a:gd name="connsiteY0" fmla="*/ 0 h 112966"/>
                <a:gd name="connsiteX1" fmla="*/ 0 w 112966"/>
                <a:gd name="connsiteY1" fmla="*/ 112967 h 112966"/>
                <a:gd name="connsiteX2" fmla="*/ 112967 w 112966"/>
                <a:gd name="connsiteY2" fmla="*/ 0 h 11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66" h="112966">
                  <a:moveTo>
                    <a:pt x="112967" y="0"/>
                  </a:moveTo>
                  <a:lnTo>
                    <a:pt x="0" y="112967"/>
                  </a:lnTo>
                  <a:cubicBezTo>
                    <a:pt x="25356" y="64747"/>
                    <a:pt x="64747" y="25356"/>
                    <a:pt x="1129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7854033-BD20-4C77-8C5B-048F4B3BDD0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1205" y="3164205"/>
              <a:ext cx="230314" cy="230314"/>
            </a:xfrm>
            <a:custGeom>
              <a:avLst/>
              <a:gdLst>
                <a:gd name="connsiteX0" fmla="*/ 230314 w 230314"/>
                <a:gd name="connsiteY0" fmla="*/ 0 h 230314"/>
                <a:gd name="connsiteX1" fmla="*/ 0 w 230314"/>
                <a:gd name="connsiteY1" fmla="*/ 230314 h 230314"/>
                <a:gd name="connsiteX2" fmla="*/ 3524 w 230314"/>
                <a:gd name="connsiteY2" fmla="*/ 209550 h 230314"/>
                <a:gd name="connsiteX3" fmla="*/ 209550 w 230314"/>
                <a:gd name="connsiteY3" fmla="*/ 3524 h 230314"/>
                <a:gd name="connsiteX4" fmla="*/ 230314 w 230314"/>
                <a:gd name="connsiteY4" fmla="*/ 0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314" h="230314">
                  <a:moveTo>
                    <a:pt x="230314" y="0"/>
                  </a:moveTo>
                  <a:lnTo>
                    <a:pt x="0" y="230314"/>
                  </a:lnTo>
                  <a:cubicBezTo>
                    <a:pt x="953" y="223361"/>
                    <a:pt x="2095" y="216408"/>
                    <a:pt x="3524" y="209550"/>
                  </a:cubicBezTo>
                  <a:lnTo>
                    <a:pt x="209550" y="3524"/>
                  </a:lnTo>
                  <a:cubicBezTo>
                    <a:pt x="216408" y="2095"/>
                    <a:pt x="223361" y="953"/>
                    <a:pt x="23031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C93AA74-BEB3-444F-835B-7AA6ECE6178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29300" y="3162300"/>
              <a:ext cx="294131" cy="294131"/>
            </a:xfrm>
            <a:custGeom>
              <a:avLst/>
              <a:gdLst>
                <a:gd name="connsiteX0" fmla="*/ 294132 w 294131"/>
                <a:gd name="connsiteY0" fmla="*/ 1238 h 294131"/>
                <a:gd name="connsiteX1" fmla="*/ 1238 w 294131"/>
                <a:gd name="connsiteY1" fmla="*/ 294132 h 294131"/>
                <a:gd name="connsiteX2" fmla="*/ 0 w 294131"/>
                <a:gd name="connsiteY2" fmla="*/ 278225 h 294131"/>
                <a:gd name="connsiteX3" fmla="*/ 278225 w 294131"/>
                <a:gd name="connsiteY3" fmla="*/ 0 h 294131"/>
                <a:gd name="connsiteX4" fmla="*/ 294132 w 294131"/>
                <a:gd name="connsiteY4" fmla="*/ 1238 h 2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1" h="294131">
                  <a:moveTo>
                    <a:pt x="294132" y="1238"/>
                  </a:moveTo>
                  <a:lnTo>
                    <a:pt x="1238" y="294132"/>
                  </a:lnTo>
                  <a:cubicBezTo>
                    <a:pt x="667" y="288893"/>
                    <a:pt x="0" y="283559"/>
                    <a:pt x="0" y="278225"/>
                  </a:cubicBezTo>
                  <a:lnTo>
                    <a:pt x="278225" y="0"/>
                  </a:lnTo>
                  <a:cubicBezTo>
                    <a:pt x="283559" y="0"/>
                    <a:pt x="288893" y="667"/>
                    <a:pt x="294132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00DF1C9-6952-4704-B8B3-95406E18E4C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7205" y="3170110"/>
              <a:ext cx="337184" cy="337280"/>
            </a:xfrm>
            <a:custGeom>
              <a:avLst/>
              <a:gdLst>
                <a:gd name="connsiteX0" fmla="*/ 337185 w 337184"/>
                <a:gd name="connsiteY0" fmla="*/ 3905 h 337280"/>
                <a:gd name="connsiteX1" fmla="*/ 3810 w 337184"/>
                <a:gd name="connsiteY1" fmla="*/ 337280 h 337280"/>
                <a:gd name="connsiteX2" fmla="*/ 0 w 337184"/>
                <a:gd name="connsiteY2" fmla="*/ 323850 h 337280"/>
                <a:gd name="connsiteX3" fmla="*/ 323850 w 337184"/>
                <a:gd name="connsiteY3" fmla="*/ 0 h 337280"/>
                <a:gd name="connsiteX4" fmla="*/ 337185 w 337184"/>
                <a:gd name="connsiteY4" fmla="*/ 3905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184" h="337280">
                  <a:moveTo>
                    <a:pt x="337185" y="3905"/>
                  </a:moveTo>
                  <a:lnTo>
                    <a:pt x="3810" y="337280"/>
                  </a:lnTo>
                  <a:cubicBezTo>
                    <a:pt x="2381" y="332899"/>
                    <a:pt x="1143" y="328422"/>
                    <a:pt x="0" y="323850"/>
                  </a:cubicBezTo>
                  <a:lnTo>
                    <a:pt x="323850" y="0"/>
                  </a:lnTo>
                  <a:cubicBezTo>
                    <a:pt x="328327" y="1715"/>
                    <a:pt x="332804" y="2477"/>
                    <a:pt x="337185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4783FD-297C-40D2-964B-DBAE4DE2835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3207" y="3186207"/>
              <a:ext cx="364617" cy="364617"/>
            </a:xfrm>
            <a:custGeom>
              <a:avLst/>
              <a:gdLst>
                <a:gd name="connsiteX0" fmla="*/ 364617 w 364617"/>
                <a:gd name="connsiteY0" fmla="*/ 5620 h 364617"/>
                <a:gd name="connsiteX1" fmla="*/ 5620 w 364617"/>
                <a:gd name="connsiteY1" fmla="*/ 364617 h 364617"/>
                <a:gd name="connsiteX2" fmla="*/ 0 w 364617"/>
                <a:gd name="connsiteY2" fmla="*/ 353187 h 364617"/>
                <a:gd name="connsiteX3" fmla="*/ 353187 w 364617"/>
                <a:gd name="connsiteY3" fmla="*/ 0 h 364617"/>
                <a:gd name="connsiteX4" fmla="*/ 364617 w 364617"/>
                <a:gd name="connsiteY4" fmla="*/ 5620 h 36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7" h="364617">
                  <a:moveTo>
                    <a:pt x="364617" y="5620"/>
                  </a:moveTo>
                  <a:lnTo>
                    <a:pt x="5620" y="364617"/>
                  </a:lnTo>
                  <a:cubicBezTo>
                    <a:pt x="3620" y="360902"/>
                    <a:pt x="1715" y="357092"/>
                    <a:pt x="0" y="353187"/>
                  </a:cubicBezTo>
                  <a:lnTo>
                    <a:pt x="353187" y="0"/>
                  </a:lnTo>
                  <a:cubicBezTo>
                    <a:pt x="357092" y="1715"/>
                    <a:pt x="360902" y="3715"/>
                    <a:pt x="364617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621623-0357-4FD5-A1AC-40050102595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75305" y="3208305"/>
              <a:ext cx="380238" cy="380238"/>
            </a:xfrm>
            <a:custGeom>
              <a:avLst/>
              <a:gdLst>
                <a:gd name="connsiteX0" fmla="*/ 380238 w 380238"/>
                <a:gd name="connsiteY0" fmla="*/ 7239 h 380238"/>
                <a:gd name="connsiteX1" fmla="*/ 7239 w 380238"/>
                <a:gd name="connsiteY1" fmla="*/ 380238 h 380238"/>
                <a:gd name="connsiteX2" fmla="*/ 0 w 380238"/>
                <a:gd name="connsiteY2" fmla="*/ 370713 h 380238"/>
                <a:gd name="connsiteX3" fmla="*/ 370237 w 380238"/>
                <a:gd name="connsiteY3" fmla="*/ 0 h 380238"/>
                <a:gd name="connsiteX4" fmla="*/ 380238 w 380238"/>
                <a:gd name="connsiteY4" fmla="*/ 7239 h 38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238" h="380238">
                  <a:moveTo>
                    <a:pt x="380238" y="7239"/>
                  </a:moveTo>
                  <a:lnTo>
                    <a:pt x="7239" y="380238"/>
                  </a:lnTo>
                  <a:cubicBezTo>
                    <a:pt x="4763" y="377000"/>
                    <a:pt x="2381" y="373571"/>
                    <a:pt x="0" y="370713"/>
                  </a:cubicBezTo>
                  <a:lnTo>
                    <a:pt x="370237" y="0"/>
                  </a:lnTo>
                  <a:cubicBezTo>
                    <a:pt x="373571" y="2381"/>
                    <a:pt x="377000" y="4763"/>
                    <a:pt x="380238" y="72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4F346E-10A0-458F-A9CA-8C0079472F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02832" y="3235832"/>
              <a:ext cx="385191" cy="385191"/>
            </a:xfrm>
            <a:custGeom>
              <a:avLst/>
              <a:gdLst>
                <a:gd name="connsiteX0" fmla="*/ 380905 w 385191"/>
                <a:gd name="connsiteY0" fmla="*/ 4286 h 385191"/>
                <a:gd name="connsiteX1" fmla="*/ 385191 w 385191"/>
                <a:gd name="connsiteY1" fmla="*/ 8573 h 385191"/>
                <a:gd name="connsiteX2" fmla="*/ 8573 w 385191"/>
                <a:gd name="connsiteY2" fmla="*/ 385191 h 385191"/>
                <a:gd name="connsiteX3" fmla="*/ 4286 w 385191"/>
                <a:gd name="connsiteY3" fmla="*/ 380905 h 385191"/>
                <a:gd name="connsiteX4" fmla="*/ 0 w 385191"/>
                <a:gd name="connsiteY4" fmla="*/ 376523 h 385191"/>
                <a:gd name="connsiteX5" fmla="*/ 376523 w 385191"/>
                <a:gd name="connsiteY5" fmla="*/ 0 h 385191"/>
                <a:gd name="connsiteX6" fmla="*/ 380905 w 385191"/>
                <a:gd name="connsiteY6" fmla="*/ 4286 h 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191" h="385191">
                  <a:moveTo>
                    <a:pt x="380905" y="4286"/>
                  </a:moveTo>
                  <a:lnTo>
                    <a:pt x="385191" y="8573"/>
                  </a:lnTo>
                  <a:lnTo>
                    <a:pt x="8573" y="385191"/>
                  </a:lnTo>
                  <a:lnTo>
                    <a:pt x="4286" y="380905"/>
                  </a:lnTo>
                  <a:cubicBezTo>
                    <a:pt x="2762" y="379476"/>
                    <a:pt x="1334" y="377952"/>
                    <a:pt x="0" y="376523"/>
                  </a:cubicBezTo>
                  <a:lnTo>
                    <a:pt x="376523" y="0"/>
                  </a:lnTo>
                  <a:cubicBezTo>
                    <a:pt x="377952" y="1334"/>
                    <a:pt x="379476" y="2667"/>
                    <a:pt x="380905" y="4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937A2F7-01A9-47F3-BED6-B61D998408A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35789" y="3268313"/>
              <a:ext cx="379761" cy="380237"/>
            </a:xfrm>
            <a:custGeom>
              <a:avLst/>
              <a:gdLst>
                <a:gd name="connsiteX0" fmla="*/ 372428 w 379761"/>
                <a:gd name="connsiteY0" fmla="*/ 0 h 380237"/>
                <a:gd name="connsiteX1" fmla="*/ 379762 w 379761"/>
                <a:gd name="connsiteY1" fmla="*/ 9525 h 380237"/>
                <a:gd name="connsiteX2" fmla="*/ 9525 w 379761"/>
                <a:gd name="connsiteY2" fmla="*/ 380238 h 380237"/>
                <a:gd name="connsiteX3" fmla="*/ 0 w 379761"/>
                <a:gd name="connsiteY3" fmla="*/ 372904 h 38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761" h="380237">
                  <a:moveTo>
                    <a:pt x="372428" y="0"/>
                  </a:moveTo>
                  <a:cubicBezTo>
                    <a:pt x="374999" y="3239"/>
                    <a:pt x="377381" y="6572"/>
                    <a:pt x="379762" y="9525"/>
                  </a:cubicBezTo>
                  <a:lnTo>
                    <a:pt x="9525" y="380238"/>
                  </a:lnTo>
                  <a:cubicBezTo>
                    <a:pt x="6096" y="377857"/>
                    <a:pt x="2762" y="375476"/>
                    <a:pt x="0" y="372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B44DAF8-5073-441A-82E1-180385D35F2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72841" y="3305841"/>
              <a:ext cx="364807" cy="364807"/>
            </a:xfrm>
            <a:custGeom>
              <a:avLst/>
              <a:gdLst>
                <a:gd name="connsiteX0" fmla="*/ 359188 w 364807"/>
                <a:gd name="connsiteY0" fmla="*/ 0 h 364807"/>
                <a:gd name="connsiteX1" fmla="*/ 364808 w 364807"/>
                <a:gd name="connsiteY1" fmla="*/ 11621 h 364807"/>
                <a:gd name="connsiteX2" fmla="*/ 11621 w 364807"/>
                <a:gd name="connsiteY2" fmla="*/ 364808 h 364807"/>
                <a:gd name="connsiteX3" fmla="*/ 0 w 364807"/>
                <a:gd name="connsiteY3" fmla="*/ 359188 h 3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807" h="364807">
                  <a:moveTo>
                    <a:pt x="359188" y="0"/>
                  </a:moveTo>
                  <a:cubicBezTo>
                    <a:pt x="361188" y="3905"/>
                    <a:pt x="362998" y="7715"/>
                    <a:pt x="364808" y="11621"/>
                  </a:cubicBezTo>
                  <a:lnTo>
                    <a:pt x="11621" y="364808"/>
                  </a:lnTo>
                  <a:cubicBezTo>
                    <a:pt x="7715" y="362998"/>
                    <a:pt x="3905" y="361188"/>
                    <a:pt x="0" y="3591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B0413D-0E36-4A90-8E6A-9EDC676A607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16370" y="3349466"/>
              <a:ext cx="337280" cy="337280"/>
            </a:xfrm>
            <a:custGeom>
              <a:avLst/>
              <a:gdLst>
                <a:gd name="connsiteX0" fmla="*/ 333470 w 337280"/>
                <a:gd name="connsiteY0" fmla="*/ 0 h 337280"/>
                <a:gd name="connsiteX1" fmla="*/ 337280 w 337280"/>
                <a:gd name="connsiteY1" fmla="*/ 13430 h 337280"/>
                <a:gd name="connsiteX2" fmla="*/ 13430 w 337280"/>
                <a:gd name="connsiteY2" fmla="*/ 337280 h 337280"/>
                <a:gd name="connsiteX3" fmla="*/ 0 w 337280"/>
                <a:gd name="connsiteY3" fmla="*/ 333470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80" h="337280">
                  <a:moveTo>
                    <a:pt x="333470" y="0"/>
                  </a:moveTo>
                  <a:cubicBezTo>
                    <a:pt x="334899" y="4382"/>
                    <a:pt x="336137" y="8858"/>
                    <a:pt x="337280" y="13430"/>
                  </a:cubicBezTo>
                  <a:lnTo>
                    <a:pt x="13430" y="337280"/>
                  </a:lnTo>
                  <a:cubicBezTo>
                    <a:pt x="8858" y="336137"/>
                    <a:pt x="4382" y="334899"/>
                    <a:pt x="0" y="3334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6059ECF-0D50-48AD-B67A-645EC29D336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67329" y="3400425"/>
              <a:ext cx="294227" cy="294132"/>
            </a:xfrm>
            <a:custGeom>
              <a:avLst/>
              <a:gdLst>
                <a:gd name="connsiteX0" fmla="*/ 292989 w 294227"/>
                <a:gd name="connsiteY0" fmla="*/ 0 h 294132"/>
                <a:gd name="connsiteX1" fmla="*/ 294227 w 294227"/>
                <a:gd name="connsiteY1" fmla="*/ 15907 h 294132"/>
                <a:gd name="connsiteX2" fmla="*/ 15907 w 294227"/>
                <a:gd name="connsiteY2" fmla="*/ 294132 h 294132"/>
                <a:gd name="connsiteX3" fmla="*/ 0 w 294227"/>
                <a:gd name="connsiteY3" fmla="*/ 292894 h 29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227" h="294132">
                  <a:moveTo>
                    <a:pt x="292989" y="0"/>
                  </a:moveTo>
                  <a:cubicBezTo>
                    <a:pt x="293561" y="5334"/>
                    <a:pt x="293942" y="10668"/>
                    <a:pt x="294227" y="15907"/>
                  </a:cubicBezTo>
                  <a:lnTo>
                    <a:pt x="15907" y="294132"/>
                  </a:lnTo>
                  <a:cubicBezTo>
                    <a:pt x="10668" y="294132"/>
                    <a:pt x="5334" y="293465"/>
                    <a:pt x="0" y="2928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94906F-6BF2-447E-9886-F12708E1289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29337" y="3462337"/>
              <a:ext cx="230314" cy="230314"/>
            </a:xfrm>
            <a:custGeom>
              <a:avLst/>
              <a:gdLst>
                <a:gd name="connsiteX0" fmla="*/ 230315 w 230314"/>
                <a:gd name="connsiteY0" fmla="*/ 0 h 230314"/>
                <a:gd name="connsiteX1" fmla="*/ 226886 w 230314"/>
                <a:gd name="connsiteY1" fmla="*/ 20574 h 230314"/>
                <a:gd name="connsiteX2" fmla="*/ 20669 w 230314"/>
                <a:gd name="connsiteY2" fmla="*/ 226790 h 230314"/>
                <a:gd name="connsiteX3" fmla="*/ 0 w 230314"/>
                <a:gd name="connsiteY3" fmla="*/ 230315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314" h="230314">
                  <a:moveTo>
                    <a:pt x="230315" y="0"/>
                  </a:moveTo>
                  <a:cubicBezTo>
                    <a:pt x="229457" y="6953"/>
                    <a:pt x="228314" y="13716"/>
                    <a:pt x="226886" y="20574"/>
                  </a:cubicBezTo>
                  <a:lnTo>
                    <a:pt x="20669" y="226790"/>
                  </a:lnTo>
                  <a:cubicBezTo>
                    <a:pt x="13811" y="228314"/>
                    <a:pt x="6953" y="229457"/>
                    <a:pt x="0" y="230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45EB96B-215A-4EBF-A594-2B082223393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18682" y="3551682"/>
              <a:ext cx="112871" cy="112871"/>
            </a:xfrm>
            <a:custGeom>
              <a:avLst/>
              <a:gdLst>
                <a:gd name="connsiteX0" fmla="*/ 112871 w 112871"/>
                <a:gd name="connsiteY0" fmla="*/ 0 h 112871"/>
                <a:gd name="connsiteX1" fmla="*/ 0 w 112871"/>
                <a:gd name="connsiteY1" fmla="*/ 112871 h 11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871" h="112871">
                  <a:moveTo>
                    <a:pt x="112871" y="0"/>
                  </a:moveTo>
                  <a:cubicBezTo>
                    <a:pt x="87618" y="48239"/>
                    <a:pt x="48239" y="87618"/>
                    <a:pt x="0" y="1128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2" name="Content Placeholder 2">
            <a:extLst>
              <a:ext uri="{FF2B5EF4-FFF2-40B4-BE49-F238E27FC236}">
                <a16:creationId xmlns:a16="http://schemas.microsoft.com/office/drawing/2014/main" id="{4C35075A-47AC-5ACE-FA58-F669D4A2C0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7996126"/>
              </p:ext>
            </p:extLst>
          </p:nvPr>
        </p:nvGraphicFramePr>
        <p:xfrm>
          <a:off x="5484139" y="477540"/>
          <a:ext cx="6301601" cy="5878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aphic 38">
            <a:extLst>
              <a:ext uri="{FF2B5EF4-FFF2-40B4-BE49-F238E27FC236}">
                <a16:creationId xmlns:a16="http://schemas.microsoft.com/office/drawing/2014/main" id="{7CF625D3-71A3-4F30-A096-8EF334E959D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02912"/>
            <a:ext cx="1910252" cy="709660"/>
            <a:chOff x="2267504" y="2540250"/>
            <a:chExt cx="1990951" cy="739640"/>
          </a:xfrm>
          <a:solidFill>
            <a:schemeClr val="bg1"/>
          </a:solidFill>
        </p:grpSpPr>
        <p:sp>
          <p:nvSpPr>
            <p:cNvPr id="5" name="Freeform: Shape 13">
              <a:extLst>
                <a:ext uri="{FF2B5EF4-FFF2-40B4-BE49-F238E27FC236}">
                  <a16:creationId xmlns:a16="http://schemas.microsoft.com/office/drawing/2014/main" id="{C6754E2F-F56E-4BA3-99DD-8EBF110E343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54025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5835 h 286230"/>
                <a:gd name="connsiteX8" fmla="*/ 255835 w 1990951"/>
                <a:gd name="connsiteY8" fmla="*/ 0 h 286230"/>
                <a:gd name="connsiteX9" fmla="*/ 504071 w 1990951"/>
                <a:gd name="connsiteY9" fmla="*/ 245703 h 286230"/>
                <a:gd name="connsiteX10" fmla="*/ 749773 w 1990951"/>
                <a:gd name="connsiteY10" fmla="*/ 0 h 286230"/>
                <a:gd name="connsiteX11" fmla="*/ 995476 w 1990951"/>
                <a:gd name="connsiteY11" fmla="*/ 245703 h 286230"/>
                <a:gd name="connsiteX12" fmla="*/ 1243712 w 1990951"/>
                <a:gd name="connsiteY12" fmla="*/ 0 h 286230"/>
                <a:gd name="connsiteX13" fmla="*/ 1489414 w 1990951"/>
                <a:gd name="connsiteY13" fmla="*/ 245703 h 286230"/>
                <a:gd name="connsiteX14" fmla="*/ 1735117 w 1990951"/>
                <a:gd name="connsiteY14" fmla="*/ 0 h 286230"/>
                <a:gd name="connsiteX15" fmla="*/ 1990952 w 1990951"/>
                <a:gd name="connsiteY15" fmla="*/ 255835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5835"/>
                  </a:lnTo>
                  <a:lnTo>
                    <a:pt x="255835" y="0"/>
                  </a:lnTo>
                  <a:lnTo>
                    <a:pt x="504071" y="245703"/>
                  </a:lnTo>
                  <a:lnTo>
                    <a:pt x="749773" y="0"/>
                  </a:lnTo>
                  <a:lnTo>
                    <a:pt x="995476" y="245703"/>
                  </a:lnTo>
                  <a:lnTo>
                    <a:pt x="1243712" y="0"/>
                  </a:lnTo>
                  <a:lnTo>
                    <a:pt x="1489414" y="245703"/>
                  </a:lnTo>
                  <a:lnTo>
                    <a:pt x="1735117" y="0"/>
                  </a:lnTo>
                  <a:lnTo>
                    <a:pt x="1990952" y="255835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14">
              <a:extLst>
                <a:ext uri="{FF2B5EF4-FFF2-40B4-BE49-F238E27FC236}">
                  <a16:creationId xmlns:a16="http://schemas.microsoft.com/office/drawing/2014/main" id="{24A69059-7C49-49C6-B071-F2A9B558E0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99366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8368 h 286230"/>
                <a:gd name="connsiteX8" fmla="*/ 255835 w 1990951"/>
                <a:gd name="connsiteY8" fmla="*/ 0 h 286230"/>
                <a:gd name="connsiteX9" fmla="*/ 504071 w 1990951"/>
                <a:gd name="connsiteY9" fmla="*/ 248236 h 286230"/>
                <a:gd name="connsiteX10" fmla="*/ 749773 w 1990951"/>
                <a:gd name="connsiteY10" fmla="*/ 0 h 286230"/>
                <a:gd name="connsiteX11" fmla="*/ 995476 w 1990951"/>
                <a:gd name="connsiteY11" fmla="*/ 248236 h 286230"/>
                <a:gd name="connsiteX12" fmla="*/ 1243712 w 1990951"/>
                <a:gd name="connsiteY12" fmla="*/ 0 h 286230"/>
                <a:gd name="connsiteX13" fmla="*/ 1489414 w 1990951"/>
                <a:gd name="connsiteY13" fmla="*/ 248236 h 286230"/>
                <a:gd name="connsiteX14" fmla="*/ 1735117 w 1990951"/>
                <a:gd name="connsiteY14" fmla="*/ 0 h 286230"/>
                <a:gd name="connsiteX15" fmla="*/ 1990952 w 1990951"/>
                <a:gd name="connsiteY15" fmla="*/ 258368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8368"/>
                  </a:lnTo>
                  <a:lnTo>
                    <a:pt x="255835" y="0"/>
                  </a:lnTo>
                  <a:lnTo>
                    <a:pt x="504071" y="248236"/>
                  </a:lnTo>
                  <a:lnTo>
                    <a:pt x="749773" y="0"/>
                  </a:lnTo>
                  <a:lnTo>
                    <a:pt x="995476" y="248236"/>
                  </a:lnTo>
                  <a:lnTo>
                    <a:pt x="1243712" y="0"/>
                  </a:lnTo>
                  <a:lnTo>
                    <a:pt x="1489414" y="248236"/>
                  </a:lnTo>
                  <a:lnTo>
                    <a:pt x="1735117" y="0"/>
                  </a:lnTo>
                  <a:lnTo>
                    <a:pt x="1990952" y="258368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Oval 16">
            <a:extLst>
              <a:ext uri="{FF2B5EF4-FFF2-40B4-BE49-F238E27FC236}">
                <a16:creationId xmlns:a16="http://schemas.microsoft.com/office/drawing/2014/main" id="{89D16701-DA76-4F72-BB63-E2C3FFBDFE0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Oval 18">
            <a:extLst>
              <a:ext uri="{FF2B5EF4-FFF2-40B4-BE49-F238E27FC236}">
                <a16:creationId xmlns:a16="http://schemas.microsoft.com/office/drawing/2014/main" id="{1CC28BE1-9DC6-43FE-9582-39F091098D7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chemeClr val="accent6">
              <a:alpha val="3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5" name="Graphic 4">
            <a:extLst>
              <a:ext uri="{FF2B5EF4-FFF2-40B4-BE49-F238E27FC236}">
                <a16:creationId xmlns:a16="http://schemas.microsoft.com/office/drawing/2014/main" id="{AF9AF3F3-CE0C-4125-BDD7-346487FA0B4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109667" y="5539935"/>
            <a:ext cx="975169" cy="975171"/>
            <a:chOff x="5829300" y="3162300"/>
            <a:chExt cx="532256" cy="532257"/>
          </a:xfrm>
          <a:solidFill>
            <a:schemeClr val="bg1"/>
          </a:solidFill>
        </p:grpSpPr>
        <p:sp>
          <p:nvSpPr>
            <p:cNvPr id="16" name="Freeform: Shape 21">
              <a:extLst>
                <a:ext uri="{FF2B5EF4-FFF2-40B4-BE49-F238E27FC236}">
                  <a16:creationId xmlns:a16="http://schemas.microsoft.com/office/drawing/2014/main" id="{B31DFBFA-CF4D-4940-9086-26F83E5C6BB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9208" y="3192208"/>
              <a:ext cx="112966" cy="112966"/>
            </a:xfrm>
            <a:custGeom>
              <a:avLst/>
              <a:gdLst>
                <a:gd name="connsiteX0" fmla="*/ 112967 w 112966"/>
                <a:gd name="connsiteY0" fmla="*/ 0 h 112966"/>
                <a:gd name="connsiteX1" fmla="*/ 0 w 112966"/>
                <a:gd name="connsiteY1" fmla="*/ 112967 h 112966"/>
                <a:gd name="connsiteX2" fmla="*/ 112967 w 112966"/>
                <a:gd name="connsiteY2" fmla="*/ 0 h 11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66" h="112966">
                  <a:moveTo>
                    <a:pt x="112967" y="0"/>
                  </a:moveTo>
                  <a:lnTo>
                    <a:pt x="0" y="112967"/>
                  </a:lnTo>
                  <a:cubicBezTo>
                    <a:pt x="25356" y="64747"/>
                    <a:pt x="64747" y="25356"/>
                    <a:pt x="1129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22">
              <a:extLst>
                <a:ext uri="{FF2B5EF4-FFF2-40B4-BE49-F238E27FC236}">
                  <a16:creationId xmlns:a16="http://schemas.microsoft.com/office/drawing/2014/main" id="{27854033-BD20-4C77-8C5B-048F4B3BDD0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1205" y="3164205"/>
              <a:ext cx="230314" cy="230314"/>
            </a:xfrm>
            <a:custGeom>
              <a:avLst/>
              <a:gdLst>
                <a:gd name="connsiteX0" fmla="*/ 230314 w 230314"/>
                <a:gd name="connsiteY0" fmla="*/ 0 h 230314"/>
                <a:gd name="connsiteX1" fmla="*/ 0 w 230314"/>
                <a:gd name="connsiteY1" fmla="*/ 230314 h 230314"/>
                <a:gd name="connsiteX2" fmla="*/ 3524 w 230314"/>
                <a:gd name="connsiteY2" fmla="*/ 209550 h 230314"/>
                <a:gd name="connsiteX3" fmla="*/ 209550 w 230314"/>
                <a:gd name="connsiteY3" fmla="*/ 3524 h 230314"/>
                <a:gd name="connsiteX4" fmla="*/ 230314 w 230314"/>
                <a:gd name="connsiteY4" fmla="*/ 0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314" h="230314">
                  <a:moveTo>
                    <a:pt x="230314" y="0"/>
                  </a:moveTo>
                  <a:lnTo>
                    <a:pt x="0" y="230314"/>
                  </a:lnTo>
                  <a:cubicBezTo>
                    <a:pt x="953" y="223361"/>
                    <a:pt x="2095" y="216408"/>
                    <a:pt x="3524" y="209550"/>
                  </a:cubicBezTo>
                  <a:lnTo>
                    <a:pt x="209550" y="3524"/>
                  </a:lnTo>
                  <a:cubicBezTo>
                    <a:pt x="216408" y="2095"/>
                    <a:pt x="223361" y="953"/>
                    <a:pt x="23031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23">
              <a:extLst>
                <a:ext uri="{FF2B5EF4-FFF2-40B4-BE49-F238E27FC236}">
                  <a16:creationId xmlns:a16="http://schemas.microsoft.com/office/drawing/2014/main" id="{BC93AA74-BEB3-444F-835B-7AA6ECE6178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29300" y="3162300"/>
              <a:ext cx="294131" cy="294131"/>
            </a:xfrm>
            <a:custGeom>
              <a:avLst/>
              <a:gdLst>
                <a:gd name="connsiteX0" fmla="*/ 294132 w 294131"/>
                <a:gd name="connsiteY0" fmla="*/ 1238 h 294131"/>
                <a:gd name="connsiteX1" fmla="*/ 1238 w 294131"/>
                <a:gd name="connsiteY1" fmla="*/ 294132 h 294131"/>
                <a:gd name="connsiteX2" fmla="*/ 0 w 294131"/>
                <a:gd name="connsiteY2" fmla="*/ 278225 h 294131"/>
                <a:gd name="connsiteX3" fmla="*/ 278225 w 294131"/>
                <a:gd name="connsiteY3" fmla="*/ 0 h 294131"/>
                <a:gd name="connsiteX4" fmla="*/ 294132 w 294131"/>
                <a:gd name="connsiteY4" fmla="*/ 1238 h 2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1" h="294131">
                  <a:moveTo>
                    <a:pt x="294132" y="1238"/>
                  </a:moveTo>
                  <a:lnTo>
                    <a:pt x="1238" y="294132"/>
                  </a:lnTo>
                  <a:cubicBezTo>
                    <a:pt x="667" y="288893"/>
                    <a:pt x="0" y="283559"/>
                    <a:pt x="0" y="278225"/>
                  </a:cubicBezTo>
                  <a:lnTo>
                    <a:pt x="278225" y="0"/>
                  </a:lnTo>
                  <a:cubicBezTo>
                    <a:pt x="283559" y="0"/>
                    <a:pt x="288893" y="667"/>
                    <a:pt x="294132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24">
              <a:extLst>
                <a:ext uri="{FF2B5EF4-FFF2-40B4-BE49-F238E27FC236}">
                  <a16:creationId xmlns:a16="http://schemas.microsoft.com/office/drawing/2014/main" id="{F00DF1C9-6952-4704-B8B3-95406E18E4C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7205" y="3170110"/>
              <a:ext cx="337184" cy="337280"/>
            </a:xfrm>
            <a:custGeom>
              <a:avLst/>
              <a:gdLst>
                <a:gd name="connsiteX0" fmla="*/ 337185 w 337184"/>
                <a:gd name="connsiteY0" fmla="*/ 3905 h 337280"/>
                <a:gd name="connsiteX1" fmla="*/ 3810 w 337184"/>
                <a:gd name="connsiteY1" fmla="*/ 337280 h 337280"/>
                <a:gd name="connsiteX2" fmla="*/ 0 w 337184"/>
                <a:gd name="connsiteY2" fmla="*/ 323850 h 337280"/>
                <a:gd name="connsiteX3" fmla="*/ 323850 w 337184"/>
                <a:gd name="connsiteY3" fmla="*/ 0 h 337280"/>
                <a:gd name="connsiteX4" fmla="*/ 337185 w 337184"/>
                <a:gd name="connsiteY4" fmla="*/ 3905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184" h="337280">
                  <a:moveTo>
                    <a:pt x="337185" y="3905"/>
                  </a:moveTo>
                  <a:lnTo>
                    <a:pt x="3810" y="337280"/>
                  </a:lnTo>
                  <a:cubicBezTo>
                    <a:pt x="2381" y="332899"/>
                    <a:pt x="1143" y="328422"/>
                    <a:pt x="0" y="323850"/>
                  </a:cubicBezTo>
                  <a:lnTo>
                    <a:pt x="323850" y="0"/>
                  </a:lnTo>
                  <a:cubicBezTo>
                    <a:pt x="328327" y="1715"/>
                    <a:pt x="332804" y="2477"/>
                    <a:pt x="337185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25">
              <a:extLst>
                <a:ext uri="{FF2B5EF4-FFF2-40B4-BE49-F238E27FC236}">
                  <a16:creationId xmlns:a16="http://schemas.microsoft.com/office/drawing/2014/main" id="{B34783FD-297C-40D2-964B-DBAE4DE2835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3207" y="3186207"/>
              <a:ext cx="364617" cy="364617"/>
            </a:xfrm>
            <a:custGeom>
              <a:avLst/>
              <a:gdLst>
                <a:gd name="connsiteX0" fmla="*/ 364617 w 364617"/>
                <a:gd name="connsiteY0" fmla="*/ 5620 h 364617"/>
                <a:gd name="connsiteX1" fmla="*/ 5620 w 364617"/>
                <a:gd name="connsiteY1" fmla="*/ 364617 h 364617"/>
                <a:gd name="connsiteX2" fmla="*/ 0 w 364617"/>
                <a:gd name="connsiteY2" fmla="*/ 353187 h 364617"/>
                <a:gd name="connsiteX3" fmla="*/ 353187 w 364617"/>
                <a:gd name="connsiteY3" fmla="*/ 0 h 364617"/>
                <a:gd name="connsiteX4" fmla="*/ 364617 w 364617"/>
                <a:gd name="connsiteY4" fmla="*/ 5620 h 36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7" h="364617">
                  <a:moveTo>
                    <a:pt x="364617" y="5620"/>
                  </a:moveTo>
                  <a:lnTo>
                    <a:pt x="5620" y="364617"/>
                  </a:lnTo>
                  <a:cubicBezTo>
                    <a:pt x="3620" y="360902"/>
                    <a:pt x="1715" y="357092"/>
                    <a:pt x="0" y="353187"/>
                  </a:cubicBezTo>
                  <a:lnTo>
                    <a:pt x="353187" y="0"/>
                  </a:lnTo>
                  <a:cubicBezTo>
                    <a:pt x="357092" y="1715"/>
                    <a:pt x="360902" y="3715"/>
                    <a:pt x="364617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26">
              <a:extLst>
                <a:ext uri="{FF2B5EF4-FFF2-40B4-BE49-F238E27FC236}">
                  <a16:creationId xmlns:a16="http://schemas.microsoft.com/office/drawing/2014/main" id="{DE621623-0357-4FD5-A1AC-40050102595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75305" y="3208305"/>
              <a:ext cx="380238" cy="380238"/>
            </a:xfrm>
            <a:custGeom>
              <a:avLst/>
              <a:gdLst>
                <a:gd name="connsiteX0" fmla="*/ 380238 w 380238"/>
                <a:gd name="connsiteY0" fmla="*/ 7239 h 380238"/>
                <a:gd name="connsiteX1" fmla="*/ 7239 w 380238"/>
                <a:gd name="connsiteY1" fmla="*/ 380238 h 380238"/>
                <a:gd name="connsiteX2" fmla="*/ 0 w 380238"/>
                <a:gd name="connsiteY2" fmla="*/ 370713 h 380238"/>
                <a:gd name="connsiteX3" fmla="*/ 370237 w 380238"/>
                <a:gd name="connsiteY3" fmla="*/ 0 h 380238"/>
                <a:gd name="connsiteX4" fmla="*/ 380238 w 380238"/>
                <a:gd name="connsiteY4" fmla="*/ 7239 h 38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238" h="380238">
                  <a:moveTo>
                    <a:pt x="380238" y="7239"/>
                  </a:moveTo>
                  <a:lnTo>
                    <a:pt x="7239" y="380238"/>
                  </a:lnTo>
                  <a:cubicBezTo>
                    <a:pt x="4763" y="377000"/>
                    <a:pt x="2381" y="373571"/>
                    <a:pt x="0" y="370713"/>
                  </a:cubicBezTo>
                  <a:lnTo>
                    <a:pt x="370237" y="0"/>
                  </a:lnTo>
                  <a:cubicBezTo>
                    <a:pt x="373571" y="2381"/>
                    <a:pt x="377000" y="4763"/>
                    <a:pt x="380238" y="72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27">
              <a:extLst>
                <a:ext uri="{FF2B5EF4-FFF2-40B4-BE49-F238E27FC236}">
                  <a16:creationId xmlns:a16="http://schemas.microsoft.com/office/drawing/2014/main" id="{024F346E-10A0-458F-A9CA-8C0079472F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02832" y="3235832"/>
              <a:ext cx="385191" cy="385191"/>
            </a:xfrm>
            <a:custGeom>
              <a:avLst/>
              <a:gdLst>
                <a:gd name="connsiteX0" fmla="*/ 380905 w 385191"/>
                <a:gd name="connsiteY0" fmla="*/ 4286 h 385191"/>
                <a:gd name="connsiteX1" fmla="*/ 385191 w 385191"/>
                <a:gd name="connsiteY1" fmla="*/ 8573 h 385191"/>
                <a:gd name="connsiteX2" fmla="*/ 8573 w 385191"/>
                <a:gd name="connsiteY2" fmla="*/ 385191 h 385191"/>
                <a:gd name="connsiteX3" fmla="*/ 4286 w 385191"/>
                <a:gd name="connsiteY3" fmla="*/ 380905 h 385191"/>
                <a:gd name="connsiteX4" fmla="*/ 0 w 385191"/>
                <a:gd name="connsiteY4" fmla="*/ 376523 h 385191"/>
                <a:gd name="connsiteX5" fmla="*/ 376523 w 385191"/>
                <a:gd name="connsiteY5" fmla="*/ 0 h 385191"/>
                <a:gd name="connsiteX6" fmla="*/ 380905 w 385191"/>
                <a:gd name="connsiteY6" fmla="*/ 4286 h 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191" h="385191">
                  <a:moveTo>
                    <a:pt x="380905" y="4286"/>
                  </a:moveTo>
                  <a:lnTo>
                    <a:pt x="385191" y="8573"/>
                  </a:lnTo>
                  <a:lnTo>
                    <a:pt x="8573" y="385191"/>
                  </a:lnTo>
                  <a:lnTo>
                    <a:pt x="4286" y="380905"/>
                  </a:lnTo>
                  <a:cubicBezTo>
                    <a:pt x="2762" y="379476"/>
                    <a:pt x="1334" y="377952"/>
                    <a:pt x="0" y="376523"/>
                  </a:cubicBezTo>
                  <a:lnTo>
                    <a:pt x="376523" y="0"/>
                  </a:lnTo>
                  <a:cubicBezTo>
                    <a:pt x="377952" y="1334"/>
                    <a:pt x="379476" y="2667"/>
                    <a:pt x="380905" y="4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28">
              <a:extLst>
                <a:ext uri="{FF2B5EF4-FFF2-40B4-BE49-F238E27FC236}">
                  <a16:creationId xmlns:a16="http://schemas.microsoft.com/office/drawing/2014/main" id="{7937A2F7-01A9-47F3-BED6-B61D998408A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35789" y="3268313"/>
              <a:ext cx="379761" cy="380237"/>
            </a:xfrm>
            <a:custGeom>
              <a:avLst/>
              <a:gdLst>
                <a:gd name="connsiteX0" fmla="*/ 372428 w 379761"/>
                <a:gd name="connsiteY0" fmla="*/ 0 h 380237"/>
                <a:gd name="connsiteX1" fmla="*/ 379762 w 379761"/>
                <a:gd name="connsiteY1" fmla="*/ 9525 h 380237"/>
                <a:gd name="connsiteX2" fmla="*/ 9525 w 379761"/>
                <a:gd name="connsiteY2" fmla="*/ 380238 h 380237"/>
                <a:gd name="connsiteX3" fmla="*/ 0 w 379761"/>
                <a:gd name="connsiteY3" fmla="*/ 372904 h 38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761" h="380237">
                  <a:moveTo>
                    <a:pt x="372428" y="0"/>
                  </a:moveTo>
                  <a:cubicBezTo>
                    <a:pt x="374999" y="3239"/>
                    <a:pt x="377381" y="6572"/>
                    <a:pt x="379762" y="9525"/>
                  </a:cubicBezTo>
                  <a:lnTo>
                    <a:pt x="9525" y="380238"/>
                  </a:lnTo>
                  <a:cubicBezTo>
                    <a:pt x="6096" y="377857"/>
                    <a:pt x="2762" y="375476"/>
                    <a:pt x="0" y="372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29">
              <a:extLst>
                <a:ext uri="{FF2B5EF4-FFF2-40B4-BE49-F238E27FC236}">
                  <a16:creationId xmlns:a16="http://schemas.microsoft.com/office/drawing/2014/main" id="{5B44DAF8-5073-441A-82E1-180385D35F2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72841" y="3305841"/>
              <a:ext cx="364807" cy="364807"/>
            </a:xfrm>
            <a:custGeom>
              <a:avLst/>
              <a:gdLst>
                <a:gd name="connsiteX0" fmla="*/ 359188 w 364807"/>
                <a:gd name="connsiteY0" fmla="*/ 0 h 364807"/>
                <a:gd name="connsiteX1" fmla="*/ 364808 w 364807"/>
                <a:gd name="connsiteY1" fmla="*/ 11621 h 364807"/>
                <a:gd name="connsiteX2" fmla="*/ 11621 w 364807"/>
                <a:gd name="connsiteY2" fmla="*/ 364808 h 364807"/>
                <a:gd name="connsiteX3" fmla="*/ 0 w 364807"/>
                <a:gd name="connsiteY3" fmla="*/ 359188 h 3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807" h="364807">
                  <a:moveTo>
                    <a:pt x="359188" y="0"/>
                  </a:moveTo>
                  <a:cubicBezTo>
                    <a:pt x="361188" y="3905"/>
                    <a:pt x="362998" y="7715"/>
                    <a:pt x="364808" y="11621"/>
                  </a:cubicBezTo>
                  <a:lnTo>
                    <a:pt x="11621" y="364808"/>
                  </a:lnTo>
                  <a:cubicBezTo>
                    <a:pt x="7715" y="362998"/>
                    <a:pt x="3905" y="361188"/>
                    <a:pt x="0" y="3591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30">
              <a:extLst>
                <a:ext uri="{FF2B5EF4-FFF2-40B4-BE49-F238E27FC236}">
                  <a16:creationId xmlns:a16="http://schemas.microsoft.com/office/drawing/2014/main" id="{52B0413D-0E36-4A90-8E6A-9EDC676A607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16370" y="3349466"/>
              <a:ext cx="337280" cy="337280"/>
            </a:xfrm>
            <a:custGeom>
              <a:avLst/>
              <a:gdLst>
                <a:gd name="connsiteX0" fmla="*/ 333470 w 337280"/>
                <a:gd name="connsiteY0" fmla="*/ 0 h 337280"/>
                <a:gd name="connsiteX1" fmla="*/ 337280 w 337280"/>
                <a:gd name="connsiteY1" fmla="*/ 13430 h 337280"/>
                <a:gd name="connsiteX2" fmla="*/ 13430 w 337280"/>
                <a:gd name="connsiteY2" fmla="*/ 337280 h 337280"/>
                <a:gd name="connsiteX3" fmla="*/ 0 w 337280"/>
                <a:gd name="connsiteY3" fmla="*/ 333470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80" h="337280">
                  <a:moveTo>
                    <a:pt x="333470" y="0"/>
                  </a:moveTo>
                  <a:cubicBezTo>
                    <a:pt x="334899" y="4382"/>
                    <a:pt x="336137" y="8858"/>
                    <a:pt x="337280" y="13430"/>
                  </a:cubicBezTo>
                  <a:lnTo>
                    <a:pt x="13430" y="337280"/>
                  </a:lnTo>
                  <a:cubicBezTo>
                    <a:pt x="8858" y="336137"/>
                    <a:pt x="4382" y="334899"/>
                    <a:pt x="0" y="3334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31">
              <a:extLst>
                <a:ext uri="{FF2B5EF4-FFF2-40B4-BE49-F238E27FC236}">
                  <a16:creationId xmlns:a16="http://schemas.microsoft.com/office/drawing/2014/main" id="{86059ECF-0D50-48AD-B67A-645EC29D336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67329" y="3400425"/>
              <a:ext cx="294227" cy="294132"/>
            </a:xfrm>
            <a:custGeom>
              <a:avLst/>
              <a:gdLst>
                <a:gd name="connsiteX0" fmla="*/ 292989 w 294227"/>
                <a:gd name="connsiteY0" fmla="*/ 0 h 294132"/>
                <a:gd name="connsiteX1" fmla="*/ 294227 w 294227"/>
                <a:gd name="connsiteY1" fmla="*/ 15907 h 294132"/>
                <a:gd name="connsiteX2" fmla="*/ 15907 w 294227"/>
                <a:gd name="connsiteY2" fmla="*/ 294132 h 294132"/>
                <a:gd name="connsiteX3" fmla="*/ 0 w 294227"/>
                <a:gd name="connsiteY3" fmla="*/ 292894 h 29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227" h="294132">
                  <a:moveTo>
                    <a:pt x="292989" y="0"/>
                  </a:moveTo>
                  <a:cubicBezTo>
                    <a:pt x="293561" y="5334"/>
                    <a:pt x="293942" y="10668"/>
                    <a:pt x="294227" y="15907"/>
                  </a:cubicBezTo>
                  <a:lnTo>
                    <a:pt x="15907" y="294132"/>
                  </a:lnTo>
                  <a:cubicBezTo>
                    <a:pt x="10668" y="294132"/>
                    <a:pt x="5334" y="293465"/>
                    <a:pt x="0" y="2928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32">
              <a:extLst>
                <a:ext uri="{FF2B5EF4-FFF2-40B4-BE49-F238E27FC236}">
                  <a16:creationId xmlns:a16="http://schemas.microsoft.com/office/drawing/2014/main" id="{B394906F-6BF2-447E-9886-F12708E1289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29337" y="3462337"/>
              <a:ext cx="230314" cy="230314"/>
            </a:xfrm>
            <a:custGeom>
              <a:avLst/>
              <a:gdLst>
                <a:gd name="connsiteX0" fmla="*/ 230315 w 230314"/>
                <a:gd name="connsiteY0" fmla="*/ 0 h 230314"/>
                <a:gd name="connsiteX1" fmla="*/ 226886 w 230314"/>
                <a:gd name="connsiteY1" fmla="*/ 20574 h 230314"/>
                <a:gd name="connsiteX2" fmla="*/ 20669 w 230314"/>
                <a:gd name="connsiteY2" fmla="*/ 226790 h 230314"/>
                <a:gd name="connsiteX3" fmla="*/ 0 w 230314"/>
                <a:gd name="connsiteY3" fmla="*/ 230315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314" h="230314">
                  <a:moveTo>
                    <a:pt x="230315" y="0"/>
                  </a:moveTo>
                  <a:cubicBezTo>
                    <a:pt x="229457" y="6953"/>
                    <a:pt x="228314" y="13716"/>
                    <a:pt x="226886" y="20574"/>
                  </a:cubicBezTo>
                  <a:lnTo>
                    <a:pt x="20669" y="226790"/>
                  </a:lnTo>
                  <a:cubicBezTo>
                    <a:pt x="13811" y="228314"/>
                    <a:pt x="6953" y="229457"/>
                    <a:pt x="0" y="230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33">
              <a:extLst>
                <a:ext uri="{FF2B5EF4-FFF2-40B4-BE49-F238E27FC236}">
                  <a16:creationId xmlns:a16="http://schemas.microsoft.com/office/drawing/2014/main" id="{A45EB96B-215A-4EBF-A594-2B082223393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18682" y="3551682"/>
              <a:ext cx="112871" cy="112871"/>
            </a:xfrm>
            <a:custGeom>
              <a:avLst/>
              <a:gdLst>
                <a:gd name="connsiteX0" fmla="*/ 112871 w 112871"/>
                <a:gd name="connsiteY0" fmla="*/ 0 h 112871"/>
                <a:gd name="connsiteX1" fmla="*/ 0 w 112871"/>
                <a:gd name="connsiteY1" fmla="*/ 112871 h 11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871" h="112871">
                  <a:moveTo>
                    <a:pt x="112871" y="0"/>
                  </a:moveTo>
                  <a:cubicBezTo>
                    <a:pt x="87618" y="48239"/>
                    <a:pt x="48239" y="87618"/>
                    <a:pt x="0" y="1128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46" name="Content Placeholder 2">
            <a:extLst>
              <a:ext uri="{FF2B5EF4-FFF2-40B4-BE49-F238E27FC236}">
                <a16:creationId xmlns:a16="http://schemas.microsoft.com/office/drawing/2014/main" id="{4C35075A-47AC-5ACE-FA58-F669D4A2C0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9548167"/>
              </p:ext>
            </p:extLst>
          </p:nvPr>
        </p:nvGraphicFramePr>
        <p:xfrm>
          <a:off x="5484139" y="477540"/>
          <a:ext cx="6301601" cy="5878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59279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lose-up of coral">
            <a:extLst>
              <a:ext uri="{FF2B5EF4-FFF2-40B4-BE49-F238E27FC236}">
                <a16:creationId xmlns:a16="http://schemas.microsoft.com/office/drawing/2014/main" id="{676A875E-6716-DB2E-90CD-26863F6466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992" r="-2" b="4249"/>
          <a:stretch/>
        </p:blipFill>
        <p:spPr>
          <a:xfrm>
            <a:off x="20" y="-7619"/>
            <a:ext cx="12191979" cy="688736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60F200-5EB0-B223-2439-C96C67F0FEE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-7620"/>
            <a:ext cx="5566593" cy="6887364"/>
          </a:xfrm>
          <a:prstGeom prst="rect">
            <a:avLst/>
          </a:prstGeom>
          <a:gradFill flip="none" rotWithShape="1">
            <a:gsLst>
              <a:gs pos="21000">
                <a:srgbClr val="000000">
                  <a:alpha val="62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067CD3-146F-6228-E362-39AA720C25F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863442" y="855815"/>
            <a:ext cx="6887365" cy="516047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alpha val="91000"/>
                </a:schemeClr>
              </a:gs>
              <a:gs pos="83000">
                <a:schemeClr val="accent5">
                  <a:alpha val="0"/>
                </a:schemeClr>
              </a:gs>
            </a:gsLst>
            <a:lin ang="51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1C7E5C-A0F8-E9FA-56DB-31A257FD4ED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-7648"/>
            <a:ext cx="2079513" cy="6865647"/>
          </a:xfrm>
          <a:prstGeom prst="rect">
            <a:avLst/>
          </a:prstGeom>
          <a:gradFill flip="none" rotWithShape="1">
            <a:gsLst>
              <a:gs pos="5000">
                <a:schemeClr val="accent5"/>
              </a:gs>
              <a:gs pos="49000">
                <a:schemeClr val="accent5">
                  <a:alpha val="0"/>
                </a:schemeClr>
              </a:gs>
            </a:gsLst>
            <a:lin ang="21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3F70A3C-4474-2A39-470C-FD55A883750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7706777" y="3068761"/>
            <a:ext cx="4504659" cy="378923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chemeClr val="accent5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AC3F7D4-9613-0E1F-901C-98FE831DEBC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8774557" y="-6485"/>
            <a:ext cx="3427160" cy="6879745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49000">
                <a:schemeClr val="accent5">
                  <a:lumMod val="60000"/>
                  <a:lumOff val="40000"/>
                  <a:alpha val="0"/>
                </a:scheme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D5167C-AF48-26F0-7A9F-3F764337487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64705" y="-1061856"/>
            <a:ext cx="3682024" cy="12211438"/>
          </a:xfrm>
          <a:prstGeom prst="rect">
            <a:avLst/>
          </a:prstGeom>
          <a:gradFill>
            <a:gsLst>
              <a:gs pos="0">
                <a:schemeClr val="accent5"/>
              </a:gs>
              <a:gs pos="65000">
                <a:schemeClr val="accent2"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B30A01-FCA8-86A5-A840-C32A3BE2ED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6" y="-7639"/>
            <a:ext cx="4879823" cy="6887373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44000">
                <a:schemeClr val="accent5">
                  <a:lumMod val="60000"/>
                  <a:lumOff val="40000"/>
                  <a:alpha val="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3" descr="Close-up of coral">
            <a:extLst>
              <a:ext uri="{FF2B5EF4-FFF2-40B4-BE49-F238E27FC236}">
                <a16:creationId xmlns:a16="http://schemas.microsoft.com/office/drawing/2014/main" id="{676A875E-6716-DB2E-90CD-26863F6466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992" r="-2" b="4249"/>
          <a:stretch/>
        </p:blipFill>
        <p:spPr>
          <a:xfrm>
            <a:off x="20" y="-7619"/>
            <a:ext cx="12191979" cy="6887364"/>
          </a:xfrm>
          <a:prstGeom prst="rect">
            <a:avLst/>
          </a:prstGeom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4D60F200-5EB0-B223-2439-C96C67F0FEE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-7620"/>
            <a:ext cx="5566593" cy="6887364"/>
          </a:xfrm>
          <a:prstGeom prst="rect">
            <a:avLst/>
          </a:prstGeom>
          <a:gradFill flip="none" rotWithShape="1">
            <a:gsLst>
              <a:gs pos="21000">
                <a:srgbClr val="000000">
                  <a:alpha val="62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74067CD3-146F-6228-E362-39AA720C25F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863442" y="855815"/>
            <a:ext cx="6887365" cy="516047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alpha val="91000"/>
                </a:schemeClr>
              </a:gs>
              <a:gs pos="83000">
                <a:schemeClr val="accent5">
                  <a:alpha val="0"/>
                </a:schemeClr>
              </a:gs>
            </a:gsLst>
            <a:lin ang="51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271C7E5C-A0F8-E9FA-56DB-31A257FD4ED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-7648"/>
            <a:ext cx="2079513" cy="6865647"/>
          </a:xfrm>
          <a:prstGeom prst="rect">
            <a:avLst/>
          </a:prstGeom>
          <a:gradFill flip="none" rotWithShape="1">
            <a:gsLst>
              <a:gs pos="5000">
                <a:schemeClr val="accent5"/>
              </a:gs>
              <a:gs pos="49000">
                <a:schemeClr val="accent5">
                  <a:alpha val="0"/>
                </a:schemeClr>
              </a:gs>
            </a:gsLst>
            <a:lin ang="21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33F70A3C-4474-2A39-470C-FD55A883750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7706777" y="3068761"/>
            <a:ext cx="4504659" cy="378923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chemeClr val="accent5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BAC3F7D4-9613-0E1F-901C-98FE831DEBC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8774557" y="-6485"/>
            <a:ext cx="3427160" cy="6879745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49000">
                <a:schemeClr val="accent5">
                  <a:lumMod val="60000"/>
                  <a:lumOff val="40000"/>
                  <a:alpha val="0"/>
                </a:scheme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AFD5167C-AF48-26F0-7A9F-3F764337487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64705" y="-1061856"/>
            <a:ext cx="3682024" cy="12211438"/>
          </a:xfrm>
          <a:prstGeom prst="rect">
            <a:avLst/>
          </a:prstGeom>
          <a:gradFill>
            <a:gsLst>
              <a:gs pos="0">
                <a:schemeClr val="accent5"/>
              </a:gs>
              <a:gs pos="65000">
                <a:schemeClr val="accent2"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87B30A01-FCA8-86A5-A840-C32A3BE2ED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6" y="-7639"/>
            <a:ext cx="4879823" cy="6887373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44000">
                <a:schemeClr val="accent5">
                  <a:lumMod val="60000"/>
                  <a:lumOff val="40000"/>
                  <a:alpha val="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6A3456-1EC2-15D8-E577-A93A2717B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028" y="2155188"/>
            <a:ext cx="4160233" cy="283927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0374932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718C-36D3-FBF9-7511-B6DCB2606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397782"/>
            <a:ext cx="10515600" cy="1325563"/>
          </a:xfrm>
        </p:spPr>
        <p:txBody>
          <a:bodyPr/>
          <a:lstStyle/>
          <a:p>
            <a:r>
              <a:rPr lang="en-US" sz="3600"/>
              <a:t>Sealant performance in addressing varying challenges</a:t>
            </a:r>
          </a:p>
        </p:txBody>
      </p:sp>
      <p:pic>
        <p:nvPicPr>
          <p:cNvPr id="4" name="Picture 3" descr="Forms response chart. Question title: 12. How do you rate Ductmate's performance in addressing these challenges? . Number of responses: .">
            <a:extLst>
              <a:ext uri="{FF2B5EF4-FFF2-40B4-BE49-F238E27FC236}">
                <a16:creationId xmlns:a16="http://schemas.microsoft.com/office/drawing/2014/main" id="{19C4D3FC-5863-1E57-E21A-743A1806854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298" b="-292"/>
          <a:stretch/>
        </p:blipFill>
        <p:spPr>
          <a:xfrm>
            <a:off x="0" y="2268374"/>
            <a:ext cx="12192000" cy="306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453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2CB30-D887-679F-4C39-72233AFBD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896" y="55908"/>
            <a:ext cx="11430000" cy="1358219"/>
          </a:xfrm>
        </p:spPr>
        <p:txBody>
          <a:bodyPr>
            <a:normAutofit/>
          </a:bodyPr>
          <a:lstStyle/>
          <a:p>
            <a:r>
              <a:rPr lang="en-US" sz="2800">
                <a:ea typeface="+mj-lt"/>
                <a:cs typeface="+mj-lt"/>
              </a:rPr>
              <a:t>Overall performance and regional variations in addressing varying challenges</a:t>
            </a:r>
            <a:endParaRPr lang="en-US" sz="280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85EA260-69CF-2170-A8ED-589C53005F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021526"/>
              </p:ext>
            </p:extLst>
          </p:nvPr>
        </p:nvGraphicFramePr>
        <p:xfrm>
          <a:off x="383082" y="1153861"/>
          <a:ext cx="11467926" cy="5462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1093">
                  <a:extLst>
                    <a:ext uri="{9D8B030D-6E8A-4147-A177-3AD203B41FA5}">
                      <a16:colId xmlns:a16="http://schemas.microsoft.com/office/drawing/2014/main" val="2635617359"/>
                    </a:ext>
                  </a:extLst>
                </a:gridCol>
                <a:gridCol w="2031583">
                  <a:extLst>
                    <a:ext uri="{9D8B030D-6E8A-4147-A177-3AD203B41FA5}">
                      <a16:colId xmlns:a16="http://schemas.microsoft.com/office/drawing/2014/main" val="223025152"/>
                    </a:ext>
                  </a:extLst>
                </a:gridCol>
                <a:gridCol w="2242188">
                  <a:extLst>
                    <a:ext uri="{9D8B030D-6E8A-4147-A177-3AD203B41FA5}">
                      <a16:colId xmlns:a16="http://schemas.microsoft.com/office/drawing/2014/main" val="530799847"/>
                    </a:ext>
                  </a:extLst>
                </a:gridCol>
                <a:gridCol w="2381250">
                  <a:extLst>
                    <a:ext uri="{9D8B030D-6E8A-4147-A177-3AD203B41FA5}">
                      <a16:colId xmlns:a16="http://schemas.microsoft.com/office/drawing/2014/main" val="3816473659"/>
                    </a:ext>
                  </a:extLst>
                </a:gridCol>
                <a:gridCol w="2341812">
                  <a:extLst>
                    <a:ext uri="{9D8B030D-6E8A-4147-A177-3AD203B41FA5}">
                      <a16:colId xmlns:a16="http://schemas.microsoft.com/office/drawing/2014/main" val="809628737"/>
                    </a:ext>
                  </a:extLst>
                </a:gridCol>
              </a:tblGrid>
              <a:tr h="616493">
                <a:tc>
                  <a:txBody>
                    <a:bodyPr/>
                    <a:lstStyle/>
                    <a:p>
                      <a:r>
                        <a:rPr lang="en-US"/>
                        <a:t>North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outh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d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rth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Whole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186195"/>
                  </a:ext>
                </a:extLst>
              </a:tr>
              <a:tr h="2816678">
                <a:tc>
                  <a:txBody>
                    <a:bodyPr/>
                    <a:lstStyle/>
                    <a:p>
                      <a:r>
                        <a:rPr lang="en-US" b="1"/>
                        <a:t>Good technical support</a:t>
                      </a:r>
                      <a:r>
                        <a:rPr lang="en-US"/>
                        <a:t> is available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ptos"/>
                        </a:rPr>
                        <a:t>There's consistency of </a:t>
                      </a:r>
                      <a:r>
                        <a:rPr lang="en-US" sz="1800" b="1" i="0" u="none" strike="noStrike" noProof="0">
                          <a:latin typeface="Aptos"/>
                        </a:rPr>
                        <a:t>product quality</a:t>
                      </a:r>
                      <a:r>
                        <a:rPr lang="en-US" sz="1800" b="0" i="0" u="none" strike="noStrike" noProof="0">
                          <a:latin typeface="Aptos"/>
                        </a:rPr>
                        <a:t> and </a:t>
                      </a:r>
                      <a:r>
                        <a:rPr lang="en-US" sz="1800" b="1" i="0" u="none" strike="noStrike" noProof="0">
                          <a:latin typeface="Aptos"/>
                        </a:rPr>
                        <a:t>availability of technical support</a:t>
                      </a:r>
                      <a:r>
                        <a:rPr lang="en-US" sz="1800" b="0" i="0" u="none" strike="noStrike" noProof="0">
                          <a:latin typeface="Apto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 i="0" u="none" strike="noStrike" noProof="0">
                          <a:latin typeface="Aptos"/>
                        </a:rPr>
                        <a:t>Price competitiveness</a:t>
                      </a:r>
                      <a:r>
                        <a:rPr lang="en-US" sz="1800" b="0" i="0" u="none" strike="noStrike" noProof="0">
                          <a:latin typeface="Aptos"/>
                        </a:rPr>
                        <a:t> has moderate ratings, along with </a:t>
                      </a:r>
                      <a:r>
                        <a:rPr lang="en-US" sz="1800" b="1" i="0" u="none" strike="noStrike" noProof="0">
                          <a:latin typeface="Aptos"/>
                        </a:rPr>
                        <a:t>lack of innovation</a:t>
                      </a:r>
                      <a:r>
                        <a:rPr lang="en-US" sz="1800" b="0" i="0" u="none" strike="noStrike" noProof="0">
                          <a:latin typeface="Aptos"/>
                        </a:rPr>
                        <a:t> and </a:t>
                      </a:r>
                      <a:r>
                        <a:rPr lang="en-US" sz="1800" b="1" i="0" u="none" strike="noStrike" noProof="0">
                          <a:latin typeface="Aptos"/>
                        </a:rPr>
                        <a:t>eco-friendly products</a:t>
                      </a:r>
                      <a:endParaRPr lang="en-US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 i="0" u="none" strike="noStrike" noProof="0">
                          <a:solidFill>
                            <a:schemeClr val="tx1"/>
                          </a:solidFill>
                          <a:latin typeface="Aptos"/>
                        </a:rPr>
                        <a:t>Product quality, availability of technical support, meeting performance criteria</a:t>
                      </a: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Aptos"/>
                        </a:rPr>
                        <a:t> have indicated consistent performance.</a:t>
                      </a:r>
                      <a:r>
                        <a:rPr lang="en-US" sz="1800" b="1" i="0" u="none" strike="noStrike" noProof="0">
                          <a:solidFill>
                            <a:schemeClr val="tx1"/>
                          </a:solidFill>
                          <a:latin typeface="Aptos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 i="0" u="none" strike="noStrike" noProof="0">
                          <a:solidFill>
                            <a:schemeClr val="tx1"/>
                          </a:solidFill>
                          <a:latin typeface="Aptos"/>
                        </a:rPr>
                        <a:t>Product quality, availability of technical support, meeting performance criteria, and sourcing eco-friendly products </a:t>
                      </a: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Aptos"/>
                        </a:rPr>
                        <a:t>have shown good performance. </a:t>
                      </a:r>
                      <a:endParaRPr lang="en-US" b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662801"/>
                  </a:ext>
                </a:extLst>
              </a:tr>
              <a:tr h="1638966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FF0000"/>
                          </a:solidFill>
                        </a:rPr>
                        <a:t>Product quality, price competitiveness, and lead time</a:t>
                      </a:r>
                      <a:r>
                        <a:rPr lang="en-US"/>
                        <a:t> for customized sealants are a</a:t>
                      </a:r>
                      <a:r>
                        <a:rPr lang="en-US" b="0"/>
                        <a:t> concern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FF0000"/>
                          </a:solidFill>
                        </a:rPr>
                        <a:t>Price competitiveness</a:t>
                      </a:r>
                      <a:r>
                        <a:rPr lang="en-US"/>
                        <a:t> has a below average performance and is a concer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rgbClr val="FF0000"/>
                          </a:solidFill>
                        </a:rPr>
                        <a:t>Product quality, availability of technical support, meeting performance criteria</a:t>
                      </a:r>
                      <a:r>
                        <a:rPr lang="en-US"/>
                        <a:t> are a </a:t>
                      </a:r>
                      <a:r>
                        <a:rPr lang="en-US" b="0"/>
                        <a:t>concern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FF0000"/>
                          </a:solidFill>
                        </a:rPr>
                        <a:t>Price competitiveness, lead time, and lack of innovation </a:t>
                      </a:r>
                      <a:r>
                        <a:rPr lang="en-US"/>
                        <a:t>have a below average rating and are a concer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FF0000"/>
                          </a:solidFill>
                        </a:rPr>
                        <a:t>Lead time, price competitiveness, and innovation</a:t>
                      </a:r>
                      <a:r>
                        <a:rPr lang="en-US"/>
                        <a:t> could be improve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37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09966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67CC325-C181-FDD4-2B01-3BBF532CFD32}"/>
              </a:ext>
            </a:extLst>
          </p:cNvPr>
          <p:cNvSpPr txBox="1"/>
          <p:nvPr/>
        </p:nvSpPr>
        <p:spPr>
          <a:xfrm>
            <a:off x="147327" y="288463"/>
            <a:ext cx="12039754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latin typeface="Aptos Display"/>
                <a:ea typeface="+mn-lt"/>
                <a:cs typeface="+mn-lt"/>
              </a:rPr>
              <a:t>While customization is increasingly in demand, regions are grappling with maintaining short lead times, ensuring price competitiveness, and upholding quality</a:t>
            </a:r>
            <a:endParaRPr lang="en-US" sz="2800">
              <a:latin typeface="Aptos Display"/>
            </a:endParaRPr>
          </a:p>
        </p:txBody>
      </p:sp>
      <p:pic>
        <p:nvPicPr>
          <p:cNvPr id="3" name="Picture 2" descr="A close up of words&#10;&#10;Description automatically generated">
            <a:extLst>
              <a:ext uri="{FF2B5EF4-FFF2-40B4-BE49-F238E27FC236}">
                <a16:creationId xmlns:a16="http://schemas.microsoft.com/office/drawing/2014/main" id="{48651CAC-9658-C7F6-A50C-5C00E2976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0452" y="2236325"/>
            <a:ext cx="666750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166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31A46-29C8-FCFD-5666-EC75CAD65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tributors survey analysis</a:t>
            </a:r>
          </a:p>
        </p:txBody>
      </p:sp>
      <p:pic>
        <p:nvPicPr>
          <p:cNvPr id="4" name="Content Placeholder 3" descr="A graph of different types of factors&#10;&#10;Description automatically generated">
            <a:extLst>
              <a:ext uri="{FF2B5EF4-FFF2-40B4-BE49-F238E27FC236}">
                <a16:creationId xmlns:a16="http://schemas.microsoft.com/office/drawing/2014/main" id="{EE955230-E0CC-169B-9DCE-EEEC6DD039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6581" y="2259875"/>
            <a:ext cx="5372100" cy="3333750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84083E8-54CC-C91B-AB7A-6A83A9188BFD}"/>
              </a:ext>
            </a:extLst>
          </p:cNvPr>
          <p:cNvSpPr txBox="1"/>
          <p:nvPr/>
        </p:nvSpPr>
        <p:spPr>
          <a:xfrm>
            <a:off x="7623314" y="1833770"/>
            <a:ext cx="4275481" cy="374743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50000"/>
              </a:lnSpc>
              <a:buFont typeface=""/>
              <a:buChar char="•"/>
            </a:pPr>
            <a:r>
              <a:rPr lang="en-US" sz="1600">
                <a:solidFill>
                  <a:srgbClr val="000000"/>
                </a:solidFill>
                <a:latin typeface="Calibri"/>
                <a:cs typeface="Arial"/>
              </a:rPr>
              <a:t>Drying Time is a top priority in humid regions like Florida, while Price is crucial in states like Ohio, Georgia, and Texas.​</a:t>
            </a:r>
            <a:endParaRPr lang="en-US" sz="1600">
              <a:latin typeface="Calibri"/>
              <a:cs typeface="Calibri"/>
            </a:endParaRPr>
          </a:p>
          <a:p>
            <a:pPr algn="just">
              <a:lnSpc>
                <a:spcPct val="150000"/>
              </a:lnSpc>
              <a:buFont typeface=""/>
              <a:buChar char="•"/>
            </a:pPr>
            <a:r>
              <a:rPr lang="en-US" sz="1600">
                <a:solidFill>
                  <a:srgbClr val="000000"/>
                </a:solidFill>
                <a:latin typeface="Calibri"/>
                <a:cs typeface="Arial"/>
              </a:rPr>
              <a:t>Moderate importance is placed on factors like Durability, Adhesion, and Color, but they are secondary to drying time and price.​</a:t>
            </a:r>
          </a:p>
          <a:p>
            <a:pPr algn="just">
              <a:lnSpc>
                <a:spcPct val="150000"/>
              </a:lnSpc>
              <a:buFont typeface=""/>
              <a:buChar char="•"/>
            </a:pPr>
            <a:r>
              <a:rPr lang="en-US" sz="1600">
                <a:solidFill>
                  <a:srgbClr val="000000"/>
                </a:solidFill>
                <a:latin typeface="Calibri"/>
                <a:cs typeface="Arial"/>
              </a:rPr>
              <a:t>Low priority factors such as UV Resistance and Flexibility show little impact across all regions, indicating limited customer focus on these attributes. ​</a:t>
            </a:r>
          </a:p>
        </p:txBody>
      </p:sp>
    </p:spTree>
    <p:extLst>
      <p:ext uri="{BB962C8B-B14F-4D97-AF65-F5344CB8AC3E}">
        <p14:creationId xmlns:p14="http://schemas.microsoft.com/office/powerpoint/2010/main" val="36641682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75294497"/>
              </p:ext>
            </p:extLst>
          </p:nvPr>
        </p:nvGraphicFramePr>
        <p:xfrm>
          <a:off x="212725" y="419100"/>
          <a:ext cx="11737975" cy="6075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Worksheet" r:id="rId3" imgW="12991944" imgH="5600492" progId="Excel.Sheet.12">
                  <p:embed/>
                </p:oleObj>
              </mc:Choice>
              <mc:Fallback>
                <p:oleObj name="Worksheet" r:id="rId3" imgW="12991944" imgH="560049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725" y="419100"/>
                        <a:ext cx="11737975" cy="6075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85226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74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nual proces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691" y="1825625"/>
            <a:ext cx="2190617" cy="4351338"/>
          </a:xfrm>
        </p:spPr>
      </p:pic>
    </p:spTree>
    <p:extLst>
      <p:ext uri="{BB962C8B-B14F-4D97-AF65-F5344CB8AC3E}">
        <p14:creationId xmlns:p14="http://schemas.microsoft.com/office/powerpoint/2010/main" val="25170496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14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MI New proces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094" y="1825625"/>
            <a:ext cx="1295811" cy="4351338"/>
          </a:xfrm>
        </p:spPr>
      </p:pic>
    </p:spTree>
    <p:extLst>
      <p:ext uri="{BB962C8B-B14F-4D97-AF65-F5344CB8AC3E}">
        <p14:creationId xmlns:p14="http://schemas.microsoft.com/office/powerpoint/2010/main" val="3459225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817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PQ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083" y="1825625"/>
            <a:ext cx="3377833" cy="4351338"/>
          </a:xfrm>
        </p:spPr>
      </p:pic>
    </p:spTree>
    <p:extLst>
      <p:ext uri="{BB962C8B-B14F-4D97-AF65-F5344CB8AC3E}">
        <p14:creationId xmlns:p14="http://schemas.microsoft.com/office/powerpoint/2010/main" val="2652248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074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Manager Survey Data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747127"/>
              </p:ext>
            </p:extLst>
          </p:nvPr>
        </p:nvGraphicFramePr>
        <p:xfrm>
          <a:off x="838200" y="2859088"/>
          <a:ext cx="10515600" cy="2282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Worksheet" r:id="rId6" imgW="12287172" imgH="2667139" progId="Excel.Sheet.12">
                  <p:embed/>
                </p:oleObj>
              </mc:Choice>
              <mc:Fallback>
                <p:oleObj name="Worksheet" r:id="rId6" imgW="12287172" imgH="266713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38200" y="2859088"/>
                        <a:ext cx="10515600" cy="2282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9805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map of the united states&#10;&#10;Description automatically generated">
            <a:extLst>
              <a:ext uri="{FF2B5EF4-FFF2-40B4-BE49-F238E27FC236}">
                <a16:creationId xmlns:a16="http://schemas.microsoft.com/office/drawing/2014/main" id="{D8EBAE4F-6300-0FE3-98A6-AF78695539D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rcRect t="11303" b="1164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BCE23-88CC-7ADA-151E-8562282E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965200"/>
            <a:ext cx="10261600" cy="356486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1500">
                <a:ln w="22225">
                  <a:solidFill>
                    <a:schemeClr val="tx1"/>
                  </a:solidFill>
                  <a:miter lim="800000"/>
                </a:ln>
                <a:noFill/>
              </a:rPr>
              <a:t>Region Map</a:t>
            </a:r>
          </a:p>
        </p:txBody>
      </p:sp>
    </p:spTree>
    <p:extLst>
      <p:ext uri="{BB962C8B-B14F-4D97-AF65-F5344CB8AC3E}">
        <p14:creationId xmlns:p14="http://schemas.microsoft.com/office/powerpoint/2010/main" val="42205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75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Region Survey Data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0895520"/>
              </p:ext>
            </p:extLst>
          </p:nvPr>
        </p:nvGraphicFramePr>
        <p:xfrm>
          <a:off x="180056" y="2664070"/>
          <a:ext cx="11702542" cy="2777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Macro-Enabled Worksheet" r:id="rId6" imgW="12201331" imgH="1342921" progId="Excel.SheetMacroEnabled.12">
                  <p:embed/>
                </p:oleObj>
              </mc:Choice>
              <mc:Fallback>
                <p:oleObj name="Macro-Enabled Worksheet" r:id="rId6" imgW="12201331" imgH="1342921" progId="Excel.SheetMacroEnabled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0056" y="2664070"/>
                        <a:ext cx="11702542" cy="27775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150021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677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est link </a:t>
            </a:r>
            <a:r>
              <a:rPr lang="en-US" smtClean="0"/>
              <a:t>to customization to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hlinkClick r:id="rId6"/>
              </a:rPr>
              <a:t>Demo Customization Too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604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43AA782-23D1-4521-8CAD-47662984AA0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3F93A-30D5-12ED-4F32-3D3A09B0C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40080"/>
            <a:ext cx="4818888" cy="1481328"/>
          </a:xfrm>
        </p:spPr>
        <p:txBody>
          <a:bodyPr anchor="b">
            <a:normAutofit/>
          </a:bodyPr>
          <a:lstStyle/>
          <a:p>
            <a:r>
              <a:rPr lang="en-US" sz="4600">
                <a:ea typeface="+mj-lt"/>
                <a:cs typeface="+mj-lt"/>
              </a:rPr>
              <a:t>Key Sealant Market Trends by Region</a:t>
            </a:r>
            <a:endParaRPr lang="en-US" sz="4600"/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71877DBC-BB60-40F0-AC93-2ACDBAAE60C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xmlns="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A3A7D-D17A-DEA1-82D7-81BEACC40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2660904"/>
            <a:ext cx="4818888" cy="35478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500" b="1">
                <a:ea typeface="+mn-lt"/>
                <a:cs typeface="+mn-lt"/>
              </a:rPr>
              <a:t>Environmental Demand</a:t>
            </a:r>
            <a:r>
              <a:rPr lang="en-US" sz="1500">
                <a:ea typeface="+mn-lt"/>
                <a:cs typeface="+mn-lt"/>
              </a:rPr>
              <a:t>:</a:t>
            </a:r>
            <a:endParaRPr lang="en-US" sz="1500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 sz="1500" b="1">
                <a:ea typeface="+mn-lt"/>
                <a:cs typeface="+mn-lt"/>
              </a:rPr>
              <a:t>High demand for low-VOC and eco-friendly sealants</a:t>
            </a:r>
            <a:r>
              <a:rPr lang="en-US" sz="1500">
                <a:ea typeface="+mn-lt"/>
                <a:cs typeface="+mn-lt"/>
              </a:rPr>
              <a:t> in the </a:t>
            </a:r>
            <a:r>
              <a:rPr lang="en-US" sz="1500" b="1">
                <a:ea typeface="+mn-lt"/>
                <a:cs typeface="+mn-lt"/>
              </a:rPr>
              <a:t>Midwest, Northeast, and USA-wide</a:t>
            </a:r>
            <a:r>
              <a:rPr lang="en-US" sz="1500">
                <a:ea typeface="+mn-lt"/>
                <a:cs typeface="+mn-lt"/>
              </a:rPr>
              <a:t> regions, reflecting a shift towards sustainability.</a:t>
            </a:r>
            <a:endParaRPr lang="en-US" sz="1500"/>
          </a:p>
          <a:p>
            <a:r>
              <a:rPr lang="en-US" sz="1500" b="1">
                <a:ea typeface="+mn-lt"/>
                <a:cs typeface="+mn-lt"/>
              </a:rPr>
              <a:t>Durability &amp; Fast-Drying Preferences</a:t>
            </a:r>
            <a:r>
              <a:rPr lang="en-US" sz="1500">
                <a:ea typeface="+mn-lt"/>
                <a:cs typeface="+mn-lt"/>
              </a:rPr>
              <a:t>:</a:t>
            </a:r>
            <a:endParaRPr lang="en-US" sz="1500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 sz="1500" b="1">
                <a:ea typeface="+mn-lt"/>
                <a:cs typeface="+mn-lt"/>
              </a:rPr>
              <a:t>Durability</a:t>
            </a:r>
            <a:r>
              <a:rPr lang="en-US" sz="1500">
                <a:ea typeface="+mn-lt"/>
                <a:cs typeface="+mn-lt"/>
              </a:rPr>
              <a:t> is particularly valued in the </a:t>
            </a:r>
            <a:r>
              <a:rPr lang="en-US" sz="1500" b="1">
                <a:ea typeface="+mn-lt"/>
                <a:cs typeface="+mn-lt"/>
              </a:rPr>
              <a:t>Northeast</a:t>
            </a:r>
            <a:r>
              <a:rPr lang="en-US" sz="1500">
                <a:ea typeface="+mn-lt"/>
                <a:cs typeface="+mn-lt"/>
              </a:rPr>
              <a:t>, while </a:t>
            </a:r>
            <a:r>
              <a:rPr lang="en-US" sz="1500" b="1">
                <a:ea typeface="+mn-lt"/>
                <a:cs typeface="+mn-lt"/>
              </a:rPr>
              <a:t>fast-drying sealants</a:t>
            </a:r>
            <a:r>
              <a:rPr lang="en-US" sz="1500">
                <a:ea typeface="+mn-lt"/>
                <a:cs typeface="+mn-lt"/>
              </a:rPr>
              <a:t> are prioritized in every region except Southwest.</a:t>
            </a:r>
            <a:endParaRPr lang="en-US" sz="1500"/>
          </a:p>
          <a:p>
            <a:r>
              <a:rPr lang="en-US" sz="1500" b="1">
                <a:ea typeface="+mn-lt"/>
                <a:cs typeface="+mn-lt"/>
              </a:rPr>
              <a:t>Cost Sensitivity</a:t>
            </a:r>
            <a:r>
              <a:rPr lang="en-US" sz="1500">
                <a:ea typeface="+mn-lt"/>
                <a:cs typeface="+mn-lt"/>
              </a:rPr>
              <a:t>:</a:t>
            </a:r>
            <a:endParaRPr lang="en-US" sz="1500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 sz="1500" b="1">
                <a:ea typeface="+mn-lt"/>
                <a:cs typeface="+mn-lt"/>
              </a:rPr>
              <a:t>Price and availability</a:t>
            </a:r>
            <a:r>
              <a:rPr lang="en-US" sz="1500">
                <a:ea typeface="+mn-lt"/>
                <a:cs typeface="+mn-lt"/>
              </a:rPr>
              <a:t> concerns are dominant in the </a:t>
            </a:r>
            <a:r>
              <a:rPr lang="en-US" sz="1500" b="1">
                <a:ea typeface="+mn-lt"/>
                <a:cs typeface="+mn-lt"/>
              </a:rPr>
              <a:t>Southwest</a:t>
            </a:r>
            <a:r>
              <a:rPr lang="en-US" sz="1500">
                <a:ea typeface="+mn-lt"/>
                <a:cs typeface="+mn-lt"/>
              </a:rPr>
              <a:t>, indicating a strong preference for affordable solutions</a:t>
            </a:r>
            <a:endParaRPr lang="en-US" sz="1500"/>
          </a:p>
          <a:p>
            <a:endParaRPr lang="en-US" sz="1500"/>
          </a:p>
        </p:txBody>
      </p:sp>
      <p:pic>
        <p:nvPicPr>
          <p:cNvPr id="6" name="Picture 5" descr="A graph showing different colored squares&#10;&#10;Description automatically generated">
            <a:extLst>
              <a:ext uri="{FF2B5EF4-FFF2-40B4-BE49-F238E27FC236}">
                <a16:creationId xmlns:a16="http://schemas.microsoft.com/office/drawing/2014/main" id="{C497BABD-DD15-0005-38DA-3884FABD18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3" r="11171" b="-187"/>
          <a:stretch/>
        </p:blipFill>
        <p:spPr>
          <a:xfrm>
            <a:off x="5451013" y="1381490"/>
            <a:ext cx="6100072" cy="494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385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A619C9-200D-A22F-4BC6-AC9F8C900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57200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600"/>
              <a:t>Important Factors by Region</a:t>
            </a:r>
          </a:p>
        </p:txBody>
      </p:sp>
      <p:sp>
        <p:nvSpPr>
          <p:cNvPr id="21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xmlns="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graph with blue dots&#10;&#10;Description automatically generated">
            <a:extLst>
              <a:ext uri="{FF2B5EF4-FFF2-40B4-BE49-F238E27FC236}">
                <a16:creationId xmlns:a16="http://schemas.microsoft.com/office/drawing/2014/main" id="{38A6459E-AD85-7930-CFBB-14FE8DDD0E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2709" y="1971473"/>
            <a:ext cx="5644361" cy="440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0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7C5D9B-4008-3684-0D1D-95076622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5400"/>
              <a:t>Durability Definition </a:t>
            </a:r>
          </a:p>
        </p:txBody>
      </p:sp>
      <p:sp>
        <p:nvSpPr>
          <p:cNvPr id="28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xmlns="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6E2950F-17E7-A49F-4D8A-01F35A5D5C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251960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 b="1">
                <a:ea typeface="+mn-lt"/>
                <a:cs typeface="+mn-lt"/>
              </a:rPr>
              <a:t>Resistance to Cracking and Peeling</a:t>
            </a:r>
            <a:r>
              <a:rPr lang="en-US" sz="2000">
                <a:ea typeface="+mn-lt"/>
                <a:cs typeface="+mn-lt"/>
              </a:rPr>
              <a:t>: Customers expect the sealant to maintain integrity in specific applications, particularly outdoors, where it must withstand high UV exposure and moisture without cracking or peeling.</a:t>
            </a:r>
            <a:endParaRPr lang="en-US" sz="2000"/>
          </a:p>
          <a:p>
            <a:r>
              <a:rPr lang="en-US" sz="2000" b="1">
                <a:ea typeface="+mn-lt"/>
                <a:cs typeface="+mn-lt"/>
              </a:rPr>
              <a:t>Performance in Adverse Conditions</a:t>
            </a:r>
            <a:r>
              <a:rPr lang="en-US" sz="2000">
                <a:ea typeface="+mn-lt"/>
                <a:cs typeface="+mn-lt"/>
              </a:rPr>
              <a:t>: The sealant should be durable enough to hold up in challenging environments, meeting stringent testing standards for long-term reliability.</a:t>
            </a:r>
            <a:endParaRPr lang="en-US" sz="2000"/>
          </a:p>
          <a:p>
            <a:r>
              <a:rPr lang="en-US" sz="2000" b="1">
                <a:ea typeface="+mn-lt"/>
                <a:cs typeface="+mn-lt"/>
              </a:rPr>
              <a:t>Perception of Durability</a:t>
            </a:r>
            <a:r>
              <a:rPr lang="en-US" sz="2000">
                <a:ea typeface="+mn-lt"/>
                <a:cs typeface="+mn-lt"/>
              </a:rPr>
              <a:t>: When customers consider durability, they think of the sealant's lifespan post-application, specifically how well it will endure under conditions like weather and UV exposure without compromising the seal.</a:t>
            </a:r>
            <a:endParaRPr lang="en-US" sz="2000"/>
          </a:p>
          <a:p>
            <a:r>
              <a:rPr lang="en-US" sz="2000" b="1">
                <a:ea typeface="+mn-lt"/>
                <a:cs typeface="+mn-lt"/>
              </a:rPr>
              <a:t>Shelf Life and Open-Container Longevity</a:t>
            </a:r>
            <a:r>
              <a:rPr lang="en-US" sz="2000">
                <a:ea typeface="+mn-lt"/>
                <a:cs typeface="+mn-lt"/>
              </a:rPr>
              <a:t>: Customers value a sealant that has a long shelf life and remains effective even after opening, allowing for prolonged use.</a:t>
            </a:r>
            <a:endParaRPr lang="en-US" sz="2000"/>
          </a:p>
          <a:p>
            <a:r>
              <a:rPr lang="en-US" sz="2000" b="1">
                <a:ea typeface="+mn-lt"/>
                <a:cs typeface="+mn-lt"/>
              </a:rPr>
              <a:t>Long-Lasting, Tight Seal</a:t>
            </a:r>
            <a:r>
              <a:rPr lang="en-US" sz="2000">
                <a:ea typeface="+mn-lt"/>
                <a:cs typeface="+mn-lt"/>
              </a:rPr>
              <a:t>: A durable sealant should be able to maintain a tight seal over time, enduring various conditions without deterioration.</a:t>
            </a:r>
            <a:endParaRPr lang="en-US" sz="2000"/>
          </a:p>
          <a:p>
            <a:pPr marL="0" indent="0">
              <a:buNone/>
            </a:pP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80328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45D37F4E-DDB4-456B-97E0-9937730A03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8731DF-FA31-6BBE-269A-73FB555E0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238539"/>
            <a:ext cx="11018520" cy="1434415"/>
          </a:xfrm>
        </p:spPr>
        <p:txBody>
          <a:bodyPr anchor="b">
            <a:normAutofit/>
          </a:bodyPr>
          <a:lstStyle/>
          <a:p>
            <a:r>
              <a:rPr lang="en-US" sz="5400" b="1">
                <a:latin typeface="Calibri"/>
                <a:ea typeface="Calibri"/>
                <a:cs typeface="Calibri"/>
              </a:rPr>
              <a:t>Unmet Customer Requests</a:t>
            </a:r>
            <a:endParaRPr lang="en-US" sz="5400">
              <a:latin typeface="Calibri"/>
              <a:ea typeface="Calibri"/>
              <a:cs typeface="Calibri"/>
            </a:endParaRP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B2DD41CD-8F47-4F56-AD12-4E2FF769698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onnsiteX0" fmla="*/ 0 w 10972800"/>
              <a:gd name="connsiteY0" fmla="*/ 0 h 18288"/>
              <a:gd name="connsiteX1" fmla="*/ 356616 w 10972800"/>
              <a:gd name="connsiteY1" fmla="*/ 0 h 18288"/>
              <a:gd name="connsiteX2" fmla="*/ 1042416 w 10972800"/>
              <a:gd name="connsiteY2" fmla="*/ 0 h 18288"/>
              <a:gd name="connsiteX3" fmla="*/ 1947672 w 10972800"/>
              <a:gd name="connsiteY3" fmla="*/ 0 h 18288"/>
              <a:gd name="connsiteX4" fmla="*/ 2633472 w 10972800"/>
              <a:gd name="connsiteY4" fmla="*/ 0 h 18288"/>
              <a:gd name="connsiteX5" fmla="*/ 2990088 w 10972800"/>
              <a:gd name="connsiteY5" fmla="*/ 0 h 18288"/>
              <a:gd name="connsiteX6" fmla="*/ 3456432 w 10972800"/>
              <a:gd name="connsiteY6" fmla="*/ 0 h 18288"/>
              <a:gd name="connsiteX7" fmla="*/ 4361688 w 10972800"/>
              <a:gd name="connsiteY7" fmla="*/ 0 h 18288"/>
              <a:gd name="connsiteX8" fmla="*/ 5266944 w 10972800"/>
              <a:gd name="connsiteY8" fmla="*/ 0 h 18288"/>
              <a:gd name="connsiteX9" fmla="*/ 6172200 w 10972800"/>
              <a:gd name="connsiteY9" fmla="*/ 0 h 18288"/>
              <a:gd name="connsiteX10" fmla="*/ 6528816 w 10972800"/>
              <a:gd name="connsiteY10" fmla="*/ 0 h 18288"/>
              <a:gd name="connsiteX11" fmla="*/ 7214616 w 10972800"/>
              <a:gd name="connsiteY11" fmla="*/ 0 h 18288"/>
              <a:gd name="connsiteX12" fmla="*/ 7790688 w 10972800"/>
              <a:gd name="connsiteY12" fmla="*/ 0 h 18288"/>
              <a:gd name="connsiteX13" fmla="*/ 8147304 w 10972800"/>
              <a:gd name="connsiteY13" fmla="*/ 0 h 18288"/>
              <a:gd name="connsiteX14" fmla="*/ 9052560 w 10972800"/>
              <a:gd name="connsiteY14" fmla="*/ 0 h 18288"/>
              <a:gd name="connsiteX15" fmla="*/ 9409176 w 10972800"/>
              <a:gd name="connsiteY15" fmla="*/ 0 h 18288"/>
              <a:gd name="connsiteX16" fmla="*/ 9765792 w 10972800"/>
              <a:gd name="connsiteY16" fmla="*/ 0 h 18288"/>
              <a:gd name="connsiteX17" fmla="*/ 10341864 w 10972800"/>
              <a:gd name="connsiteY17" fmla="*/ 0 h 18288"/>
              <a:gd name="connsiteX18" fmla="*/ 10972800 w 10972800"/>
              <a:gd name="connsiteY18" fmla="*/ 0 h 18288"/>
              <a:gd name="connsiteX19" fmla="*/ 10972800 w 10972800"/>
              <a:gd name="connsiteY19" fmla="*/ 18288 h 18288"/>
              <a:gd name="connsiteX20" fmla="*/ 10177272 w 10972800"/>
              <a:gd name="connsiteY20" fmla="*/ 18288 h 18288"/>
              <a:gd name="connsiteX21" fmla="*/ 9820656 w 10972800"/>
              <a:gd name="connsiteY21" fmla="*/ 18288 h 18288"/>
              <a:gd name="connsiteX22" fmla="*/ 9464040 w 10972800"/>
              <a:gd name="connsiteY22" fmla="*/ 18288 h 18288"/>
              <a:gd name="connsiteX23" fmla="*/ 8778240 w 10972800"/>
              <a:gd name="connsiteY23" fmla="*/ 18288 h 18288"/>
              <a:gd name="connsiteX24" fmla="*/ 8421624 w 10972800"/>
              <a:gd name="connsiteY24" fmla="*/ 18288 h 18288"/>
              <a:gd name="connsiteX25" fmla="*/ 7735824 w 10972800"/>
              <a:gd name="connsiteY25" fmla="*/ 18288 h 18288"/>
              <a:gd name="connsiteX26" fmla="*/ 6940296 w 10972800"/>
              <a:gd name="connsiteY26" fmla="*/ 18288 h 18288"/>
              <a:gd name="connsiteX27" fmla="*/ 6254496 w 10972800"/>
              <a:gd name="connsiteY27" fmla="*/ 18288 h 18288"/>
              <a:gd name="connsiteX28" fmla="*/ 5458968 w 10972800"/>
              <a:gd name="connsiteY28" fmla="*/ 18288 h 18288"/>
              <a:gd name="connsiteX29" fmla="*/ 4663440 w 10972800"/>
              <a:gd name="connsiteY29" fmla="*/ 18288 h 18288"/>
              <a:gd name="connsiteX30" fmla="*/ 4306824 w 10972800"/>
              <a:gd name="connsiteY30" fmla="*/ 18288 h 18288"/>
              <a:gd name="connsiteX31" fmla="*/ 3840480 w 10972800"/>
              <a:gd name="connsiteY31" fmla="*/ 18288 h 18288"/>
              <a:gd name="connsiteX32" fmla="*/ 3264408 w 10972800"/>
              <a:gd name="connsiteY32" fmla="*/ 18288 h 18288"/>
              <a:gd name="connsiteX33" fmla="*/ 2578608 w 10972800"/>
              <a:gd name="connsiteY33" fmla="*/ 18288 h 18288"/>
              <a:gd name="connsiteX34" fmla="*/ 1673352 w 10972800"/>
              <a:gd name="connsiteY34" fmla="*/ 18288 h 18288"/>
              <a:gd name="connsiteX35" fmla="*/ 877824 w 10972800"/>
              <a:gd name="connsiteY35" fmla="*/ 18288 h 18288"/>
              <a:gd name="connsiteX36" fmla="*/ 0 w 10972800"/>
              <a:gd name="connsiteY36" fmla="*/ 18288 h 18288"/>
              <a:gd name="connsiteX37" fmla="*/ 0 w 10972800"/>
              <a:gd name="connsiteY37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xmlns="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BC4B9-6933-125E-0696-FBEE6E057F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93" y="2071316"/>
            <a:ext cx="6713552" cy="4119172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/>
            <a:r>
              <a:rPr lang="en-US" sz="2200">
                <a:latin typeface="Calibri"/>
                <a:ea typeface="Calibri"/>
                <a:cs typeface="Calibri"/>
              </a:rPr>
              <a:t>Some customers seek a </a:t>
            </a:r>
            <a:r>
              <a:rPr lang="en-US" sz="2200" b="1">
                <a:latin typeface="Calibri"/>
                <a:ea typeface="Calibri"/>
                <a:cs typeface="Calibri"/>
              </a:rPr>
              <a:t>UL 181-A certified sealant</a:t>
            </a:r>
            <a:r>
              <a:rPr lang="en-US" sz="2200">
                <a:latin typeface="Calibri"/>
                <a:ea typeface="Calibri"/>
                <a:cs typeface="Calibri"/>
              </a:rPr>
              <a:t> for residential applications, which </a:t>
            </a:r>
            <a:r>
              <a:rPr lang="en-US" sz="2200" err="1">
                <a:latin typeface="Calibri"/>
                <a:ea typeface="Calibri"/>
                <a:cs typeface="Calibri"/>
              </a:rPr>
              <a:t>Ductmate</a:t>
            </a:r>
            <a:r>
              <a:rPr lang="en-US" sz="2200">
                <a:latin typeface="Calibri"/>
                <a:ea typeface="Calibri"/>
                <a:cs typeface="Calibri"/>
              </a:rPr>
              <a:t> currently does not provide.</a:t>
            </a:r>
            <a:endParaRPr lang="en-US" sz="2200"/>
          </a:p>
          <a:p>
            <a:pPr algn="just"/>
            <a:r>
              <a:rPr lang="en-US" sz="2200">
                <a:latin typeface="Calibri"/>
                <a:ea typeface="Calibri"/>
                <a:cs typeface="Calibri"/>
              </a:rPr>
              <a:t>There is also demand for a </a:t>
            </a:r>
            <a:r>
              <a:rPr lang="en-US" sz="2200" b="1">
                <a:latin typeface="Calibri"/>
                <a:ea typeface="Calibri"/>
                <a:cs typeface="Calibri"/>
              </a:rPr>
              <a:t>white-colored sealant</a:t>
            </a:r>
            <a:r>
              <a:rPr lang="en-US" sz="2200">
                <a:latin typeface="Calibri"/>
                <a:ea typeface="Calibri"/>
                <a:cs typeface="Calibri"/>
              </a:rPr>
              <a:t>, a product option that is currently unavailable in </a:t>
            </a:r>
            <a:r>
              <a:rPr lang="en-US" sz="2200" err="1">
                <a:latin typeface="Calibri"/>
                <a:ea typeface="Calibri"/>
                <a:cs typeface="Calibri"/>
              </a:rPr>
              <a:t>Ductmate’s</a:t>
            </a:r>
            <a:r>
              <a:rPr lang="en-US" sz="2200">
                <a:latin typeface="Calibri"/>
                <a:ea typeface="Calibri"/>
                <a:cs typeface="Calibri"/>
              </a:rPr>
              <a:t> lineup.</a:t>
            </a:r>
          </a:p>
          <a:p>
            <a:pPr algn="just"/>
            <a:r>
              <a:rPr lang="en-US" sz="2200" b="1">
                <a:latin typeface="Calibri"/>
                <a:ea typeface="Calibri"/>
                <a:cs typeface="Calibri"/>
              </a:rPr>
              <a:t>Price Sensitivity</a:t>
            </a:r>
            <a:r>
              <a:rPr lang="en-US" sz="2200">
                <a:latin typeface="Calibri"/>
                <a:ea typeface="Calibri"/>
                <a:cs typeface="Calibri"/>
              </a:rPr>
              <a:t>: A segment of customers prioritizes low cost over performance, expressing interest in a budget-friendly sealant even if it comes at the expense of durability or quality.</a:t>
            </a:r>
          </a:p>
          <a:p>
            <a:endParaRPr lang="en-US" sz="2200">
              <a:latin typeface="Calibri"/>
              <a:ea typeface="Calibri"/>
              <a:cs typeface="Calibri"/>
            </a:endParaRPr>
          </a:p>
        </p:txBody>
      </p:sp>
      <p:pic>
        <p:nvPicPr>
          <p:cNvPr id="4" name="Picture 3" descr="A hand holding a tube with a red circle around it&#10;&#10;Description automatically generated">
            <a:extLst>
              <a:ext uri="{FF2B5EF4-FFF2-40B4-BE49-F238E27FC236}">
                <a16:creationId xmlns:a16="http://schemas.microsoft.com/office/drawing/2014/main" id="{D6C2FF46-9909-74D9-91B6-AD87C27380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9979" r="21093" b="-3"/>
          <a:stretch/>
        </p:blipFill>
        <p:spPr>
          <a:xfrm>
            <a:off x="7675658" y="2093976"/>
            <a:ext cx="3941064" cy="409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441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198E0-B8B9-504A-ADC8-538F1E5F8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Sealant Factors Influencing Regional Markets</a:t>
            </a:r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7931084-7FC4-4581-62F0-D89F8733190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21969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908175-BE37-DC09-5B27-ACE0A0D56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9944632" cy="968837"/>
          </a:xfrm>
        </p:spPr>
        <p:txBody>
          <a:bodyPr anchor="ctr">
            <a:normAutofit fontScale="90000"/>
          </a:bodyPr>
          <a:lstStyle/>
          <a:p>
            <a:r>
              <a:rPr lang="en-US" sz="3200" b="1">
                <a:solidFill>
                  <a:srgbClr val="FFFFFF"/>
                </a:solidFill>
              </a:rPr>
              <a:t>Strategic Opportunities highlighted during Interviews</a:t>
            </a:r>
            <a:r>
              <a:rPr lang="en-US" sz="3200" b="1"/>
              <a:t/>
            </a:r>
            <a:br>
              <a:rPr lang="en-US" sz="3200" b="1"/>
            </a:br>
            <a:endParaRPr lang="en-IN" sz="3200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A590E6A-9E9B-4E22-A89F-F3D62406D3A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10398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ed6cffa-9742-4392-9264-147fd5efc67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50AE4941E1EC4082760559AE34C61A" ma:contentTypeVersion="18" ma:contentTypeDescription="Create a new document." ma:contentTypeScope="" ma:versionID="65ae9c30faab5ca72e86a9d676e48af5">
  <xsd:schema xmlns:xsd="http://www.w3.org/2001/XMLSchema" xmlns:xs="http://www.w3.org/2001/XMLSchema" xmlns:p="http://schemas.microsoft.com/office/2006/metadata/properties" xmlns:ns3="9ed6cffa-9742-4392-9264-147fd5efc67e" xmlns:ns4="1478e297-47af-45d4-96a4-4e5befe56e6c" targetNamespace="http://schemas.microsoft.com/office/2006/metadata/properties" ma:root="true" ma:fieldsID="ca19dcc4f3a9ddb7cee019c0683bdb77" ns3:_="" ns4:_="">
    <xsd:import namespace="9ed6cffa-9742-4392-9264-147fd5efc67e"/>
    <xsd:import namespace="1478e297-47af-45d4-96a4-4e5befe56e6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d6cffa-9742-4392-9264-147fd5efc6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78e297-47af-45d4-96a4-4e5befe56e6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BC599C-6D1F-4013-A6C8-1A9B5B497BF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478e297-47af-45d4-96a4-4e5befe56e6c"/>
    <ds:schemaRef ds:uri="9ed6cffa-9742-4392-9264-147fd5efc67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55F7A1C-042D-43E2-A541-ED2C280831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F2D8EE-C0C2-42B3-8E5E-82F3FF25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d6cffa-9742-4392-9264-147fd5efc67e"/>
    <ds:schemaRef ds:uri="1478e297-47af-45d4-96a4-4e5befe56e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</TotalTime>
  <Words>1322</Words>
  <Application>Microsoft Office PowerPoint</Application>
  <PresentationFormat>Widescreen</PresentationFormat>
  <Paragraphs>133</Paragraphs>
  <Slides>3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Aptos</vt:lpstr>
      <vt:lpstr>Aptos Display</vt:lpstr>
      <vt:lpstr>Arial</vt:lpstr>
      <vt:lpstr>Calibri</vt:lpstr>
      <vt:lpstr>Courier New</vt:lpstr>
      <vt:lpstr>office theme</vt:lpstr>
      <vt:lpstr>Office Theme</vt:lpstr>
      <vt:lpstr>think-cell Slide</vt:lpstr>
      <vt:lpstr>Worksheet</vt:lpstr>
      <vt:lpstr>Macro-Enabled Worksheet</vt:lpstr>
      <vt:lpstr>PA-RTF Program &amp; DMI Companies, Inc. Strategic Research Project </vt:lpstr>
      <vt:lpstr>Executive Summary</vt:lpstr>
      <vt:lpstr>Region Map</vt:lpstr>
      <vt:lpstr>Key Sealant Market Trends by Region</vt:lpstr>
      <vt:lpstr>Important Factors by Region</vt:lpstr>
      <vt:lpstr>Durability Definition </vt:lpstr>
      <vt:lpstr>Unmet Customer Requests</vt:lpstr>
      <vt:lpstr>Sealant Factors Influencing Regional Markets</vt:lpstr>
      <vt:lpstr>Strategic Opportunities highlighted during Interviews </vt:lpstr>
      <vt:lpstr>Customization Fulfills Specific Needs For Customers In Different Regions</vt:lpstr>
      <vt:lpstr>Customization to address lead time challenges across the country</vt:lpstr>
      <vt:lpstr>The shift toward water-based and Non-VOC sealants</vt:lpstr>
      <vt:lpstr>Competitor Landscape</vt:lpstr>
      <vt:lpstr>How Do Competitors Approach Customization?</vt:lpstr>
      <vt:lpstr>Ductmate Stands Out With Customization Tool</vt:lpstr>
      <vt:lpstr>Imagining the possibilities of customization</vt:lpstr>
      <vt:lpstr>Conclusion</vt:lpstr>
      <vt:lpstr>Next Steps</vt:lpstr>
      <vt:lpstr>Thank You</vt:lpstr>
      <vt:lpstr>Appendix</vt:lpstr>
      <vt:lpstr>Sealant performance in addressing varying challenges</vt:lpstr>
      <vt:lpstr>Overall performance and regional variations in addressing varying challenges</vt:lpstr>
      <vt:lpstr>PowerPoint Presentation</vt:lpstr>
      <vt:lpstr>Distributors survey analysis</vt:lpstr>
      <vt:lpstr>PowerPoint Presentation</vt:lpstr>
      <vt:lpstr>Manual process</vt:lpstr>
      <vt:lpstr>DMI New process</vt:lpstr>
      <vt:lpstr>CPQ</vt:lpstr>
      <vt:lpstr>Manager Survey Data</vt:lpstr>
      <vt:lpstr>Region Survey Data</vt:lpstr>
      <vt:lpstr>Test link to customization too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-RTF Program &amp; DMI Companies, Inc. Strategic Research Project</dc:title>
  <dc:creator>Tyler, James Lee</dc:creator>
  <cp:lastModifiedBy>Tyler, James Lee</cp:lastModifiedBy>
  <cp:revision>5</cp:revision>
  <dcterms:created xsi:type="dcterms:W3CDTF">2024-10-29T13:37:03Z</dcterms:created>
  <dcterms:modified xsi:type="dcterms:W3CDTF">2024-11-02T03:0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50AE4941E1EC4082760559AE34C61A</vt:lpwstr>
  </property>
  <property fmtid="{D5CDD505-2E9C-101B-9397-08002B2CF9AE}" pid="3" name="MediaServiceImageTags">
    <vt:lpwstr/>
  </property>
</Properties>
</file>